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332" r:id="rId5"/>
    <p:sldId id="342" r:id="rId6"/>
    <p:sldId id="353" r:id="rId7"/>
    <p:sldId id="341" r:id="rId8"/>
    <p:sldId id="351" r:id="rId9"/>
    <p:sldId id="352" r:id="rId10"/>
    <p:sldId id="349" r:id="rId11"/>
    <p:sldId id="344" r:id="rId12"/>
    <p:sldId id="350" r:id="rId13"/>
    <p:sldId id="345" r:id="rId14"/>
    <p:sldId id="346" r:id="rId15"/>
  </p:sldIdLst>
  <p:sldSz cx="11522075" cy="6480175"/>
  <p:notesSz cx="6858000" cy="9144000"/>
  <p:defaultTextStyle>
    <a:defPPr>
      <a:defRPr lang="de-DE"/>
    </a:defPPr>
    <a:lvl1pPr marL="0" algn="l" defTabSz="864108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2054" algn="l" defTabSz="864108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4108" algn="l" defTabSz="864108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6162" algn="l" defTabSz="864108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8216" algn="l" defTabSz="864108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60270" algn="l" defTabSz="864108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2324" algn="l" defTabSz="864108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4378" algn="l" defTabSz="864108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6432" algn="l" defTabSz="864108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19" userDrawn="1">
          <p15:clr>
            <a:srgbClr val="A4A3A4"/>
          </p15:clr>
        </p15:guide>
        <p15:guide id="2" pos="182" userDrawn="1">
          <p15:clr>
            <a:srgbClr val="A4A3A4"/>
          </p15:clr>
        </p15:guide>
        <p15:guide id="3" orient="horz" pos="3901" userDrawn="1">
          <p15:clr>
            <a:srgbClr val="A4A3A4"/>
          </p15:clr>
        </p15:guide>
        <p15:guide id="4" orient="horz" pos="181" userDrawn="1">
          <p15:clr>
            <a:srgbClr val="A4A3A4"/>
          </p15:clr>
        </p15:guide>
        <p15:guide id="5" orient="horz" pos="3470" userDrawn="1">
          <p15:clr>
            <a:srgbClr val="A4A3A4"/>
          </p15:clr>
        </p15:guide>
        <p15:guide id="6" pos="7076" userDrawn="1">
          <p15:clr>
            <a:srgbClr val="A4A3A4"/>
          </p15:clr>
        </p15:guide>
        <p15:guide id="7" pos="1803" userDrawn="1">
          <p15:clr>
            <a:srgbClr val="A4A3A4"/>
          </p15:clr>
        </p15:guide>
        <p15:guide id="8" pos="1940" userDrawn="1">
          <p15:clr>
            <a:srgbClr val="A4A3A4"/>
          </p15:clr>
        </p15:guide>
        <p15:guide id="9" pos="3561" userDrawn="1">
          <p15:clr>
            <a:srgbClr val="A4A3A4"/>
          </p15:clr>
        </p15:guide>
        <p15:guide id="10" pos="3696" userDrawn="1">
          <p15:clr>
            <a:srgbClr val="A4A3A4"/>
          </p15:clr>
        </p15:guide>
        <p15:guide id="11" pos="5454" userDrawn="1">
          <p15:clr>
            <a:srgbClr val="A4A3A4"/>
          </p15:clr>
        </p15:guide>
        <p15:guide id="12" pos="5318" userDrawn="1">
          <p15:clr>
            <a:srgbClr val="A4A3A4"/>
          </p15:clr>
        </p15:guide>
        <p15:guide id="13" orient="horz" pos="9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0275"/>
    <a:srgbClr val="E0067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EE32A6A-49EC-4DC7-A593-21F0A264D070}" v="44" dt="2022-10-12T11:46:42.8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0" d="100"/>
          <a:sy n="110" d="100"/>
        </p:scale>
        <p:origin x="108" y="528"/>
      </p:cViewPr>
      <p:guideLst>
        <p:guide orient="horz" pos="3719"/>
        <p:guide pos="182"/>
        <p:guide orient="horz" pos="3901"/>
        <p:guide orient="horz" pos="181"/>
        <p:guide orient="horz" pos="3470"/>
        <p:guide pos="7076"/>
        <p:guide pos="1803"/>
        <p:guide pos="1940"/>
        <p:guide pos="3561"/>
        <p:guide pos="3696"/>
        <p:guide pos="5454"/>
        <p:guide pos="5318"/>
        <p:guide orient="horz" pos="93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265FD6BF-C729-41B0-80DE-0E0C5FD1537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866632A-C145-4572-BC8D-3D56BFFE760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622A29-9C0A-465B-9676-81CD9C3376ED}" type="datetimeFigureOut">
              <a:rPr lang="de-DE" smtClean="0"/>
              <a:t>12.10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C2CCD2-D9FF-4C5A-8BD3-958E17AF2B4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AFB4243-E5BD-463A-8F77-0F27B27C6B8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6F7341-EE75-4285-BA3D-8E8E0A500A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65027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E5A786-662B-4D4A-9A0F-E74332E57D00}" type="datetimeFigureOut">
              <a:rPr lang="de-DE" smtClean="0"/>
              <a:t>12.10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8A6043-85DA-412B-8B03-9BB17A87BB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49020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64108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2054" algn="l" defTabSz="864108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4108" algn="l" defTabSz="864108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6162" algn="l" defTabSz="864108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8216" algn="l" defTabSz="864108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60270" algn="l" defTabSz="864108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2324" algn="l" defTabSz="864108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4378" algn="l" defTabSz="864108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6432" algn="l" defTabSz="864108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8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79425" y="366713"/>
            <a:ext cx="5899150" cy="3317875"/>
          </a:xfrm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88131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07541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0966A70-0557-44AA-AC17-8BA3AF3D49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882" y="0"/>
            <a:ext cx="11520311" cy="648017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7FCDDE9-7764-42B0-8F43-2371EBD89BB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288925" y="2354405"/>
            <a:ext cx="9394925" cy="1030590"/>
          </a:xfrm>
        </p:spPr>
        <p:txBody>
          <a:bodyPr anchor="t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E152E4C-FB20-4D19-B4BC-87528428F9C2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288925" y="1606550"/>
            <a:ext cx="9394925" cy="641350"/>
          </a:xfrm>
        </p:spPr>
        <p:txBody>
          <a:bodyPr anchor="b"/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TeleGrotesk Next Thin" pitchFamily="2" charset="0"/>
                <a:ea typeface="TeleGrotesk Next Thin" pitchFamily="2" charset="0"/>
                <a:cs typeface="TeleGrotesk Next Thin" pitchFamily="2" charset="0"/>
              </a:defRPr>
            </a:lvl1pPr>
            <a:lvl2pPr marL="432008" indent="0" algn="ctr">
              <a:buNone/>
              <a:defRPr sz="1890"/>
            </a:lvl2pPr>
            <a:lvl3pPr marL="864017" indent="0" algn="ctr">
              <a:buNone/>
              <a:defRPr sz="1701"/>
            </a:lvl3pPr>
            <a:lvl4pPr marL="1296025" indent="0" algn="ctr">
              <a:buNone/>
              <a:defRPr sz="1512"/>
            </a:lvl4pPr>
            <a:lvl5pPr marL="1728033" indent="0" algn="ctr">
              <a:buNone/>
              <a:defRPr sz="1512"/>
            </a:lvl5pPr>
            <a:lvl6pPr marL="2160041" indent="0" algn="ctr">
              <a:buNone/>
              <a:defRPr sz="1512"/>
            </a:lvl6pPr>
            <a:lvl7pPr marL="2592050" indent="0" algn="ctr">
              <a:buNone/>
              <a:defRPr sz="1512"/>
            </a:lvl7pPr>
            <a:lvl8pPr marL="3024058" indent="0" algn="ctr">
              <a:buNone/>
              <a:defRPr sz="1512"/>
            </a:lvl8pPr>
            <a:lvl9pPr marL="3456066" indent="0" algn="ctr">
              <a:buNone/>
              <a:defRPr sz="1512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723590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384A0C8-7D85-4B28-8710-5704FDE3FB7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13.10.2022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A696AD-8432-4342-A6AC-7D34A2E80B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644F0FC-5C3A-4ABD-9082-9008644EE0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0D31B56F-E45C-4C69-A13B-6AC2158A776F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288925" y="1476375"/>
            <a:ext cx="10944000" cy="40322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B76043-1CAC-491C-B32B-3075733A7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9407706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384A0C8-7D85-4B28-8710-5704FDE3FB7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13.10.2022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A696AD-8432-4342-A6AC-7D34A2E80B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644F0FC-5C3A-4ABD-9082-9008644EE0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2E602CA3-F8B7-420C-B20A-2D48892B84C2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288925" y="1476375"/>
            <a:ext cx="5365750" cy="40322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0">
            <a:extLst>
              <a:ext uri="{FF2B5EF4-FFF2-40B4-BE49-F238E27FC236}">
                <a16:creationId xmlns:a16="http://schemas.microsoft.com/office/drawing/2014/main" id="{5E87823C-6D79-4FE8-B0B1-216E3189B4D2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5867175" y="1476375"/>
            <a:ext cx="5365750" cy="40322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2CC2681-F5CF-47D9-96AD-382A47BB1DB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889897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384A0C8-7D85-4B28-8710-5704FDE3FB7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13.10.2022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A696AD-8432-4342-A6AC-7D34A2E80B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644F0FC-5C3A-4ABD-9082-9008644EE0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1F3D3AD9-01E3-46A2-A59E-CFEE877128FE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288925" y="1476375"/>
            <a:ext cx="3504000" cy="40322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>
            <a:extLst>
              <a:ext uri="{FF2B5EF4-FFF2-40B4-BE49-F238E27FC236}">
                <a16:creationId xmlns:a16="http://schemas.microsoft.com/office/drawing/2014/main" id="{58A61405-2281-4303-BA1F-C8C62AAAC7EA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4008925" y="1476375"/>
            <a:ext cx="3504000" cy="40322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9">
            <a:extLst>
              <a:ext uri="{FF2B5EF4-FFF2-40B4-BE49-F238E27FC236}">
                <a16:creationId xmlns:a16="http://schemas.microsoft.com/office/drawing/2014/main" id="{51F7B433-2C48-434A-BE83-8CA2D7D58003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>
          <a:xfrm>
            <a:off x="7728925" y="1476375"/>
            <a:ext cx="3504000" cy="40322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DD2251E-A289-4E10-BB66-500C56F7401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2119655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384A0C8-7D85-4B28-8710-5704FDE3FB7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13.10.2022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A696AD-8432-4342-A6AC-7D34A2E80B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644F0FC-5C3A-4ABD-9082-9008644EE0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C9A63E41-25A0-4894-AA65-808474EFBCB4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288925" y="1476375"/>
            <a:ext cx="2574000" cy="40322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0">
            <a:extLst>
              <a:ext uri="{FF2B5EF4-FFF2-40B4-BE49-F238E27FC236}">
                <a16:creationId xmlns:a16="http://schemas.microsoft.com/office/drawing/2014/main" id="{DF998A8A-275F-4E8C-AE93-9AE84592D61B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3078925" y="1476375"/>
            <a:ext cx="2574000" cy="40322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>
            <a:extLst>
              <a:ext uri="{FF2B5EF4-FFF2-40B4-BE49-F238E27FC236}">
                <a16:creationId xmlns:a16="http://schemas.microsoft.com/office/drawing/2014/main" id="{0CD339E1-1460-4934-9D06-537F20FF81D9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>
          <a:xfrm>
            <a:off x="5868925" y="1476375"/>
            <a:ext cx="2574000" cy="40322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Inhaltsplatzhalter 10">
            <a:extLst>
              <a:ext uri="{FF2B5EF4-FFF2-40B4-BE49-F238E27FC236}">
                <a16:creationId xmlns:a16="http://schemas.microsoft.com/office/drawing/2014/main" id="{AF767754-336C-4203-A4EF-EBA743562B18}"/>
              </a:ext>
            </a:extLst>
          </p:cNvPr>
          <p:cNvSpPr>
            <a:spLocks noGrp="1"/>
          </p:cNvSpPr>
          <p:nvPr>
            <p:ph sz="quarter" idx="16"/>
          </p:nvPr>
        </p:nvSpPr>
        <p:spPr bwMode="gray">
          <a:xfrm>
            <a:off x="8658925" y="1476375"/>
            <a:ext cx="2574000" cy="40322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E821201-0648-426F-864C-A08F32F7352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180047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577EBD8-6295-494B-B983-2DFE12F4867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9720653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3F9DBA4-C955-4D11-B501-B257668E7905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2252E73-07C0-4460-A371-B5D272C86DD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13.10.2022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656D681-0459-4E02-B344-CB8DF09D8D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54D6A9B-8BE2-4523-874C-74C463C0DF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7432051-11D7-42AE-B4D9-21E1D09E0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288925" y="1476375"/>
            <a:ext cx="10944000" cy="37084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5F46D0D-FCBE-43D3-8FFE-DD19685274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88925" y="5302739"/>
            <a:ext cx="10944000" cy="216000"/>
          </a:xfrm>
        </p:spPr>
        <p:txBody>
          <a:bodyPr/>
          <a:lstStyle>
            <a:lvl1pPr>
              <a:defRPr b="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8450687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rechts, 24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EEC2DD-8189-49D2-933E-464611E359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288925" y="1476375"/>
            <a:ext cx="5365750" cy="403225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6F046B5-E37D-428F-8A38-630EF12AE2C6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5867400" y="1476375"/>
            <a:ext cx="5365525" cy="4032250"/>
          </a:xfrm>
        </p:spPr>
        <p:txBody>
          <a:bodyPr lIns="108000" anchor="t"/>
          <a:lstStyle>
            <a:lvl1pPr>
              <a:defRPr sz="2400"/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027A14F-34DB-4883-8E58-5BA5FE7E2DF6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r>
              <a:rPr lang="de-DE" dirty="0"/>
              <a:t>13.10.2022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7C04199-27AC-4F6B-8B79-ECCADE27A90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D67ECE7-F047-49C3-BC0E-D67A0DC6F3C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97D3A48-5736-4439-A173-66768E086BC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300745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EEC2DD-8189-49D2-933E-464611E359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5761038" y="0"/>
            <a:ext cx="5761037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1A073E57-D87D-4E5B-9989-39E03B94EC01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288925" y="1476375"/>
            <a:ext cx="5364163" cy="4032250"/>
          </a:xfrm>
        </p:spPr>
        <p:txBody>
          <a:bodyPr rIns="108000" anchor="ctr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CF64E9A-667B-4368-BAD8-BAEC9ACFD9C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88925" y="287338"/>
            <a:ext cx="5364163" cy="792000"/>
          </a:xfrm>
        </p:spPr>
        <p:txBody>
          <a:bodyPr rIns="108000"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6628959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EEC2DD-8189-49D2-933E-464611E359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1" y="0"/>
            <a:ext cx="5761037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6F046B5-E37D-428F-8A38-630EF12AE2C6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5867400" y="1476375"/>
            <a:ext cx="5365750" cy="4032250"/>
          </a:xfrm>
        </p:spPr>
        <p:txBody>
          <a:bodyPr lIns="108000" anchor="ctr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027A14F-34DB-4883-8E58-5BA5FE7E2DF6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r>
              <a:rPr lang="de-DE" dirty="0"/>
              <a:t>13.10.2022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7C04199-27AC-4F6B-8B79-ECCADE27A90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D67ECE7-F047-49C3-BC0E-D67A0DC6F3C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7F82D13-D380-49DB-A45B-EEF50AFB4F9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867400" y="287338"/>
            <a:ext cx="5365750" cy="792000"/>
          </a:xfrm>
        </p:spPr>
        <p:txBody>
          <a:bodyPr lIns="108000"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6309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1391C0-4CDA-433E-B449-8C4345AB8F1D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13.10.2022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A74AA9-C36D-47A9-BA27-1D47363F3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C8D2665-D95B-4530-BE7A-8B3FD3827B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81776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Viol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6943C778-8814-4556-BEE1-AB1598C4E2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882" y="0"/>
            <a:ext cx="11520311" cy="648017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7FCDDE9-7764-42B0-8F43-2371EBD89BB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288925" y="2354405"/>
            <a:ext cx="9394925" cy="1030590"/>
          </a:xfrm>
        </p:spPr>
        <p:txBody>
          <a:bodyPr anchor="t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E152E4C-FB20-4D19-B4BC-87528428F9C2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288925" y="1606550"/>
            <a:ext cx="9394925" cy="641350"/>
          </a:xfrm>
        </p:spPr>
        <p:txBody>
          <a:bodyPr anchor="b"/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TeleGrotesk Next Thin" pitchFamily="2" charset="0"/>
                <a:ea typeface="TeleGrotesk Next Thin" pitchFamily="2" charset="0"/>
                <a:cs typeface="TeleGrotesk Next Thin" pitchFamily="2" charset="0"/>
              </a:defRPr>
            </a:lvl1pPr>
            <a:lvl2pPr marL="432008" indent="0" algn="ctr">
              <a:buNone/>
              <a:defRPr sz="1890"/>
            </a:lvl2pPr>
            <a:lvl3pPr marL="864017" indent="0" algn="ctr">
              <a:buNone/>
              <a:defRPr sz="1701"/>
            </a:lvl3pPr>
            <a:lvl4pPr marL="1296025" indent="0" algn="ctr">
              <a:buNone/>
              <a:defRPr sz="1512"/>
            </a:lvl4pPr>
            <a:lvl5pPr marL="1728033" indent="0" algn="ctr">
              <a:buNone/>
              <a:defRPr sz="1512"/>
            </a:lvl5pPr>
            <a:lvl6pPr marL="2160041" indent="0" algn="ctr">
              <a:buNone/>
              <a:defRPr sz="1512"/>
            </a:lvl6pPr>
            <a:lvl7pPr marL="2592050" indent="0" algn="ctr">
              <a:buNone/>
              <a:defRPr sz="1512"/>
            </a:lvl7pPr>
            <a:lvl8pPr marL="3024058" indent="0" algn="ctr">
              <a:buNone/>
              <a:defRPr sz="1512"/>
            </a:lvl8pPr>
            <a:lvl9pPr marL="3456066" indent="0" algn="ctr">
              <a:buNone/>
              <a:defRPr sz="1512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88925A1-5BA9-4156-96CC-8907E0A9ECA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88925" y="5832000"/>
            <a:ext cx="4126711" cy="465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9892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Visual Magenta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5E07C31-7FFA-49DB-B352-4C4C7A4D81B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1522075" cy="6480175"/>
          </a:xfrm>
        </p:spPr>
        <p:txBody>
          <a:bodyPr/>
          <a:lstStyle>
            <a:lvl1pPr marL="0" marR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Bild einfügen</a:t>
            </a:r>
          </a:p>
          <a:p>
            <a:endParaRPr lang="de-DE"/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C468FB44-E924-4752-A21B-98A5E32551D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88000" y="0"/>
            <a:ext cx="9390122" cy="5184776"/>
          </a:xfrm>
          <a:blipFill>
            <a:blip r:embed="rId2"/>
            <a:stretch>
              <a:fillRect l="-6576" t="-71813" r="-3" b="-10935"/>
            </a:stretch>
          </a:blipFill>
        </p:spPr>
        <p:txBody>
          <a:bodyPr anchor="ctr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9516B42-95BD-4BFC-9068-EB228C28D8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76000" y="3173304"/>
            <a:ext cx="3816000" cy="1776413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8AC4B163-E536-4DD6-B0A1-591A580499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76000" y="2371354"/>
            <a:ext cx="3816000" cy="239204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82E92C8A-F717-494B-8089-A21C95DDA9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76000" y="2650353"/>
            <a:ext cx="3816000" cy="432000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1"/>
                </a:solidFill>
                <a:latin typeface="+mj-lt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F8BD7985-7253-452D-99F2-66624092410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13.10.2022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B80BC10-AB10-44EB-B58F-34524A2DA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11319F-786E-4F65-AA07-5EFAD0A63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4ED4E671-5F9C-4568-A0F7-55D9E5FF0B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8000" y="5904000"/>
            <a:ext cx="3183162" cy="3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760081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Visual Magenta Logo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5E07C31-7FFA-49DB-B352-4C4C7A4D81B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-1" y="-1"/>
            <a:ext cx="11522075" cy="6480175"/>
          </a:xfrm>
        </p:spPr>
        <p:txBody>
          <a:bodyPr/>
          <a:lstStyle>
            <a:lvl1pPr marL="0" marR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Bild einfügen</a:t>
            </a:r>
          </a:p>
          <a:p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47F827B-45E8-4C30-8248-7661AA8340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88000" y="-1"/>
            <a:ext cx="9390122" cy="5184776"/>
          </a:xfrm>
          <a:blipFill>
            <a:blip r:embed="rId2"/>
            <a:stretch>
              <a:fillRect l="-6576" t="-71813" r="-3" b="-10935"/>
            </a:stretch>
          </a:blipFill>
        </p:spPr>
        <p:txBody>
          <a:bodyPr anchor="ctr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F8BD7985-7253-452D-99F2-66624092410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10.2022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B80BC10-AB10-44EB-B58F-34524A2DA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11319F-786E-4F65-AA07-5EFAD0A63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9516B42-95BD-4BFC-9068-EB228C28D8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76000" y="3173304"/>
            <a:ext cx="3816000" cy="1776413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8AC4B163-E536-4DD6-B0A1-591A580499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76000" y="2371354"/>
            <a:ext cx="3816000" cy="239204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82E92C8A-F717-494B-8089-A21C95DDA9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76000" y="2650353"/>
            <a:ext cx="3816000" cy="432000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1"/>
                </a:solidFill>
                <a:latin typeface="+mj-lt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4ED4E671-5F9C-4568-A0F7-55D9E5FF0B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8000" y="5904000"/>
            <a:ext cx="3183162" cy="3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018430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Visual Magenta+Rot+Orange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5E07C31-7FFA-49DB-B352-4C4C7A4D81B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1522075" cy="6480175"/>
          </a:xfrm>
        </p:spPr>
        <p:txBody>
          <a:bodyPr/>
          <a:lstStyle>
            <a:lvl1pPr marL="0" marR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Bild einfügen</a:t>
            </a:r>
          </a:p>
          <a:p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DAF4CD6-206C-40AB-BD66-051E6A9290C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88000" y="0"/>
            <a:ext cx="9390122" cy="5184776"/>
          </a:xfrm>
          <a:blipFill>
            <a:blip r:embed="rId2"/>
            <a:stretch>
              <a:fillRect l="-6576" t="-71813" r="-3" b="-10935"/>
            </a:stretch>
          </a:blipFill>
        </p:spPr>
        <p:txBody>
          <a:bodyPr anchor="ctr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9516B42-95BD-4BFC-9068-EB228C28D8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76000" y="3173304"/>
            <a:ext cx="3816000" cy="1776413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8AC4B163-E536-4DD6-B0A1-591A580499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76000" y="2371354"/>
            <a:ext cx="3816000" cy="239204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82E92C8A-F717-494B-8089-A21C95DDA9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76000" y="2650353"/>
            <a:ext cx="3816000" cy="432000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1"/>
                </a:solidFill>
                <a:latin typeface="+mj-lt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F8BD7985-7253-452D-99F2-66624092410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13.10.2022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B80BC10-AB10-44EB-B58F-34524A2DA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11319F-786E-4F65-AA07-5EFAD0A63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4ED4E671-5F9C-4568-A0F7-55D9E5FF0B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8000" y="5904000"/>
            <a:ext cx="3183162" cy="3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641768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Visual Magenta+Rot+Orange Logo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5E07C31-7FFA-49DB-B352-4C4C7A4D81B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-1" y="-1"/>
            <a:ext cx="11522075" cy="6480175"/>
          </a:xfrm>
        </p:spPr>
        <p:txBody>
          <a:bodyPr/>
          <a:lstStyle>
            <a:lvl1pPr marL="0" marR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Bild einfügen</a:t>
            </a:r>
          </a:p>
          <a:p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80D60C0-9BFC-4348-A51C-4C6F76D08A1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88000" y="-1"/>
            <a:ext cx="9390122" cy="5184776"/>
          </a:xfrm>
          <a:blipFill>
            <a:blip r:embed="rId2"/>
            <a:stretch>
              <a:fillRect l="-6576" t="-71813" r="-3" b="-10935"/>
            </a:stretch>
          </a:blipFill>
        </p:spPr>
        <p:txBody>
          <a:bodyPr anchor="ctr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F8BD7985-7253-452D-99F2-66624092410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10.2022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B80BC10-AB10-44EB-B58F-34524A2DA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11319F-786E-4F65-AA07-5EFAD0A63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9516B42-95BD-4BFC-9068-EB228C28D8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76000" y="3173304"/>
            <a:ext cx="3816000" cy="1776413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8AC4B163-E536-4DD6-B0A1-591A580499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76000" y="2371354"/>
            <a:ext cx="3816000" cy="239204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82E92C8A-F717-494B-8089-A21C95DDA9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76000" y="2650353"/>
            <a:ext cx="3816000" cy="432000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1"/>
                </a:solidFill>
                <a:latin typeface="+mj-lt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4ED4E671-5F9C-4568-A0F7-55D9E5FF0B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8000" y="5904000"/>
            <a:ext cx="3183162" cy="3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197949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Visual Magenta+Rot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01999B6-DE06-4F28-BE97-BADBE386580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28D12F8B-F8FF-4075-89B5-8B7B1CC10B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 rot="5400000">
            <a:off x="6026149" y="984253"/>
            <a:ext cx="5337176" cy="5654675"/>
          </a:xfrm>
          <a:blipFill>
            <a:blip r:embed="rId2"/>
            <a:stretch>
              <a:fillRect l="-10708" t="-64459" r="-64188" b="-10438"/>
            </a:stretch>
          </a:blipFill>
        </p:spPr>
        <p:txBody>
          <a:bodyPr anchor="ctr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F8BD7985-7253-452D-99F2-66624092410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13.10.2022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B80BC10-AB10-44EB-B58F-34524A2DA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11319F-786E-4F65-AA07-5EFAD0A63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8AC4B163-E536-4DD6-B0A1-591A580499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156325" y="2371354"/>
            <a:ext cx="4156076" cy="239204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82E92C8A-F717-494B-8089-A21C95DDA9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156325" y="2650353"/>
            <a:ext cx="4156076" cy="432000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1"/>
                </a:solidFill>
                <a:latin typeface="+mj-lt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44102763-787B-4583-BB8B-D972D77A42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156325" y="3173304"/>
            <a:ext cx="4156076" cy="1776413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6D52B25E-1C93-48FA-A1CF-840D0FE2CA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8000" y="5904000"/>
            <a:ext cx="3183162" cy="3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103787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Visual Magenta+Rot Logo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01999B6-DE06-4F28-BE97-BADBE386580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20633C0A-A92A-4DDB-9798-A56F1CF48D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 rot="5400000">
            <a:off x="6026400" y="982800"/>
            <a:ext cx="5349876" cy="5654675"/>
          </a:xfrm>
          <a:blipFill>
            <a:blip r:embed="rId2"/>
            <a:stretch>
              <a:fillRect l="-10446" t="-64459" r="-64035" b="-10438"/>
            </a:stretch>
          </a:blipFill>
        </p:spPr>
        <p:txBody>
          <a:bodyPr anchor="ctr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F8BD7985-7253-452D-99F2-66624092410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13.10.2022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B80BC10-AB10-44EB-B58F-34524A2DA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11319F-786E-4F65-AA07-5EFAD0A63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8AC4B163-E536-4DD6-B0A1-591A580499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156325" y="2371354"/>
            <a:ext cx="4156076" cy="239204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82E92C8A-F717-494B-8089-A21C95DDA9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156325" y="2650353"/>
            <a:ext cx="4156076" cy="432000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1"/>
                </a:solidFill>
                <a:latin typeface="+mj-lt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44102763-787B-4583-BB8B-D972D77A42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156325" y="3173304"/>
            <a:ext cx="4156076" cy="1776413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B368F8DA-D8DB-4FD3-BE7D-F753FEEAEDC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8000" y="5904000"/>
            <a:ext cx="3183162" cy="3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11056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Visual Magenta+Violett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01999B6-DE06-4F28-BE97-BADBE386580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1" name="Textplatzhalter 11">
            <a:extLst>
              <a:ext uri="{FF2B5EF4-FFF2-40B4-BE49-F238E27FC236}">
                <a16:creationId xmlns:a16="http://schemas.microsoft.com/office/drawing/2014/main" id="{758A07A7-49C1-48AE-82AC-B5E6D1C006B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 rot="5400000">
            <a:off x="6019799" y="977903"/>
            <a:ext cx="5349876" cy="5654675"/>
          </a:xfrm>
          <a:blipFill>
            <a:blip r:embed="rId2"/>
            <a:stretch>
              <a:fillRect l="-10446" t="-64459" r="-64035" b="-10438"/>
            </a:stretch>
          </a:blipFill>
        </p:spPr>
        <p:txBody>
          <a:bodyPr anchor="ctr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F8BD7985-7253-452D-99F2-66624092410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13.10.2022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B80BC10-AB10-44EB-B58F-34524A2DA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11319F-786E-4F65-AA07-5EFAD0A63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8AC4B163-E536-4DD6-B0A1-591A580499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156325" y="2371354"/>
            <a:ext cx="4156076" cy="239204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82E92C8A-F717-494B-8089-A21C95DDA9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156325" y="2650353"/>
            <a:ext cx="4156076" cy="432000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1"/>
                </a:solidFill>
                <a:latin typeface="+mj-lt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44102763-787B-4583-BB8B-D972D77A42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156325" y="3173304"/>
            <a:ext cx="4156076" cy="1776413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6D52B25E-1C93-48FA-A1CF-840D0FE2CA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8000" y="5904000"/>
            <a:ext cx="3183162" cy="3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062164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Visual Magenta+Violett Logo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01999B6-DE06-4F28-BE97-BADBE386580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2932EC9-1965-472F-9672-D735521C7C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 rot="5400000">
            <a:off x="6019799" y="977903"/>
            <a:ext cx="5349876" cy="5654675"/>
          </a:xfrm>
          <a:blipFill>
            <a:blip r:embed="rId2"/>
            <a:stretch>
              <a:fillRect l="-10446" t="-64459" r="-64035" b="-10438"/>
            </a:stretch>
          </a:blipFill>
        </p:spPr>
        <p:txBody>
          <a:bodyPr anchor="ctr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F8BD7985-7253-452D-99F2-66624092410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13.10.2022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B80BC10-AB10-44EB-B58F-34524A2DA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11319F-786E-4F65-AA07-5EFAD0A63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8AC4B163-E536-4DD6-B0A1-591A580499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156325" y="2371354"/>
            <a:ext cx="4156076" cy="239204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82E92C8A-F717-494B-8089-A21C95DDA9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156325" y="2650353"/>
            <a:ext cx="4156076" cy="432000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1"/>
                </a:solidFill>
                <a:latin typeface="+mj-lt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44102763-787B-4583-BB8B-D972D77A42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156325" y="3173304"/>
            <a:ext cx="4156076" cy="1776413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B368F8DA-D8DB-4FD3-BE7D-F753FEEAEDC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8000" y="5904000"/>
            <a:ext cx="3183162" cy="3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480856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Visual 2 Magenta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512CB395-FAD8-4ED8-86C7-A39C280A4E8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-1" y="0"/>
            <a:ext cx="11522075" cy="648017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632C979A-12BE-4C31-B8A3-89906A4886E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467350" y="1003946"/>
            <a:ext cx="6054725" cy="4400010"/>
          </a:xfrm>
          <a:blipFill>
            <a:blip r:embed="rId2"/>
            <a:stretch>
              <a:fillRect l="-17619" r="-21972" b="632"/>
            </a:stretch>
          </a:blipFill>
        </p:spPr>
        <p:txBody>
          <a:bodyPr anchor="ctr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F8BD7985-7253-452D-99F2-66624092410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13.10.2022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B80BC10-AB10-44EB-B58F-34524A2DA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11319F-786E-4F65-AA07-5EFAD0A63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82E92C8A-F717-494B-8089-A21C95DDA9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867400" y="2943225"/>
            <a:ext cx="4285074" cy="857250"/>
          </a:xfrm>
        </p:spPr>
        <p:txBody>
          <a:bodyPr/>
          <a:lstStyle>
            <a:lvl1pPr>
              <a:lnSpc>
                <a:spcPct val="90000"/>
              </a:lnSpc>
              <a:defRPr sz="3000" b="0">
                <a:solidFill>
                  <a:schemeClr val="bg1"/>
                </a:solidFill>
                <a:latin typeface="+mj-lt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E4B83C69-8122-46D8-92BC-3517C17E65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867401" y="2673321"/>
            <a:ext cx="4285074" cy="239204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59763355-7C81-4B72-8391-B80F448DB9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8000" y="5904000"/>
            <a:ext cx="3183162" cy="3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452830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Visual 2 Magenta Logo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512CB395-FAD8-4ED8-86C7-A39C280A4E8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1522075" cy="6480175"/>
          </a:xfrm>
        </p:spPr>
        <p:txBody>
          <a:bodyPr/>
          <a:lstStyle>
            <a:lvl1pPr marL="0" marR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Bild einfügen</a:t>
            </a:r>
          </a:p>
          <a:p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5D6D203-B1B9-487F-8AA9-2407A6D203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467350" y="1003946"/>
            <a:ext cx="6054725" cy="4400010"/>
          </a:xfrm>
          <a:blipFill>
            <a:blip r:embed="rId2"/>
            <a:stretch>
              <a:fillRect l="-17619" r="-21972" b="632"/>
            </a:stretch>
          </a:blipFill>
        </p:spPr>
        <p:txBody>
          <a:bodyPr anchor="ctr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F8BD7985-7253-452D-99F2-66624092410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10.2022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B80BC10-AB10-44EB-B58F-34524A2DA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11319F-786E-4F65-AA07-5EFAD0A63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82E92C8A-F717-494B-8089-A21C95DDA9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867400" y="2943225"/>
            <a:ext cx="4285074" cy="857250"/>
          </a:xfrm>
        </p:spPr>
        <p:txBody>
          <a:bodyPr/>
          <a:lstStyle>
            <a:lvl1pPr>
              <a:lnSpc>
                <a:spcPct val="90000"/>
              </a:lnSpc>
              <a:defRPr sz="3000" b="0">
                <a:solidFill>
                  <a:schemeClr val="bg1"/>
                </a:solidFill>
                <a:latin typeface="+mj-lt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E4B83C69-8122-46D8-92BC-3517C17E65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867401" y="2673321"/>
            <a:ext cx="4285074" cy="239204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6E20FBC3-F834-47D2-B527-8D98A42418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8000" y="5904000"/>
            <a:ext cx="3183162" cy="3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935575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Rot-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153E62A3-FD21-46C0-B8B1-0CA209A220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882" y="0"/>
            <a:ext cx="11520311" cy="648017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7FCDDE9-7764-42B0-8F43-2371EBD89BB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288925" y="2354405"/>
            <a:ext cx="9394925" cy="1030590"/>
          </a:xfrm>
        </p:spPr>
        <p:txBody>
          <a:bodyPr anchor="t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E152E4C-FB20-4D19-B4BC-87528428F9C2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288925" y="1606550"/>
            <a:ext cx="9394925" cy="641350"/>
          </a:xfrm>
        </p:spPr>
        <p:txBody>
          <a:bodyPr anchor="b"/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TeleGrotesk Next Thin" pitchFamily="2" charset="0"/>
                <a:ea typeface="TeleGrotesk Next Thin" pitchFamily="2" charset="0"/>
                <a:cs typeface="TeleGrotesk Next Thin" pitchFamily="2" charset="0"/>
              </a:defRPr>
            </a:lvl1pPr>
            <a:lvl2pPr marL="432008" indent="0" algn="ctr">
              <a:buNone/>
              <a:defRPr sz="1890"/>
            </a:lvl2pPr>
            <a:lvl3pPr marL="864017" indent="0" algn="ctr">
              <a:buNone/>
              <a:defRPr sz="1701"/>
            </a:lvl3pPr>
            <a:lvl4pPr marL="1296025" indent="0" algn="ctr">
              <a:buNone/>
              <a:defRPr sz="1512"/>
            </a:lvl4pPr>
            <a:lvl5pPr marL="1728033" indent="0" algn="ctr">
              <a:buNone/>
              <a:defRPr sz="1512"/>
            </a:lvl5pPr>
            <a:lvl6pPr marL="2160041" indent="0" algn="ctr">
              <a:buNone/>
              <a:defRPr sz="1512"/>
            </a:lvl6pPr>
            <a:lvl7pPr marL="2592050" indent="0" algn="ctr">
              <a:buNone/>
              <a:defRPr sz="1512"/>
            </a:lvl7pPr>
            <a:lvl8pPr marL="3024058" indent="0" algn="ctr">
              <a:buNone/>
              <a:defRPr sz="1512"/>
            </a:lvl8pPr>
            <a:lvl9pPr marL="3456066" indent="0" algn="ctr">
              <a:buNone/>
              <a:defRPr sz="1512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88925A1-5BA9-4156-96CC-8907E0A9ECA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88925" y="5832000"/>
            <a:ext cx="4126711" cy="465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8619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Visual 2 Magenta+Rot+Orange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512CB395-FAD8-4ED8-86C7-A39C280A4E8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-1" y="0"/>
            <a:ext cx="11522075" cy="648017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BD4C1F21-79FA-41EC-8D0D-D662C66CB3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468400" y="1003946"/>
            <a:ext cx="6061075" cy="4400010"/>
          </a:xfrm>
          <a:blipFill>
            <a:blip r:embed="rId2"/>
            <a:stretch>
              <a:fillRect l="-17496" r="-21948" b="632"/>
            </a:stretch>
          </a:blipFill>
        </p:spPr>
        <p:txBody>
          <a:bodyPr anchor="ctr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F8BD7985-7253-452D-99F2-66624092410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13.10.2022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B80BC10-AB10-44EB-B58F-34524A2DA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11319F-786E-4F65-AA07-5EFAD0A63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82E92C8A-F717-494B-8089-A21C95DDA9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867400" y="2943225"/>
            <a:ext cx="4285074" cy="857250"/>
          </a:xfrm>
        </p:spPr>
        <p:txBody>
          <a:bodyPr/>
          <a:lstStyle>
            <a:lvl1pPr>
              <a:lnSpc>
                <a:spcPct val="90000"/>
              </a:lnSpc>
              <a:defRPr sz="3000" b="0">
                <a:solidFill>
                  <a:schemeClr val="bg1"/>
                </a:solidFill>
                <a:latin typeface="+mj-lt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E4B83C69-8122-46D8-92BC-3517C17E65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867401" y="2673321"/>
            <a:ext cx="4285074" cy="239204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59763355-7C81-4B72-8391-B80F448DB9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8000" y="5904000"/>
            <a:ext cx="3183162" cy="3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903770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Visual 2 Magenta+Rot+Orange Logo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512CB395-FAD8-4ED8-86C7-A39C280A4E8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1522075" cy="6480175"/>
          </a:xfrm>
        </p:spPr>
        <p:txBody>
          <a:bodyPr/>
          <a:lstStyle>
            <a:lvl1pPr marL="0" marR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Bild einfügen</a:t>
            </a:r>
          </a:p>
          <a:p>
            <a:endParaRPr lang="de-DE"/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2BC9B7BA-521D-4CAD-B6C2-238346D2474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468400" y="1003946"/>
            <a:ext cx="6061075" cy="4400010"/>
          </a:xfrm>
          <a:blipFill>
            <a:blip r:embed="rId2"/>
            <a:stretch>
              <a:fillRect l="-17496" r="-21948" b="632"/>
            </a:stretch>
          </a:blipFill>
        </p:spPr>
        <p:txBody>
          <a:bodyPr anchor="ctr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F8BD7985-7253-452D-99F2-66624092410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10.2022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B80BC10-AB10-44EB-B58F-34524A2DA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11319F-786E-4F65-AA07-5EFAD0A63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82E92C8A-F717-494B-8089-A21C95DDA9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867400" y="2943225"/>
            <a:ext cx="4285074" cy="857250"/>
          </a:xfrm>
        </p:spPr>
        <p:txBody>
          <a:bodyPr/>
          <a:lstStyle>
            <a:lvl1pPr>
              <a:lnSpc>
                <a:spcPct val="90000"/>
              </a:lnSpc>
              <a:defRPr sz="3000" b="0">
                <a:solidFill>
                  <a:schemeClr val="bg1"/>
                </a:solidFill>
                <a:latin typeface="+mj-lt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E4B83C69-8122-46D8-92BC-3517C17E65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867401" y="2673321"/>
            <a:ext cx="4285074" cy="239204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6E20FBC3-F834-47D2-B527-8D98A42418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8000" y="5904000"/>
            <a:ext cx="3183162" cy="3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39461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Visual 2 Magenta+Rot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F39DE651-2549-46A9-B3B4-7BECF549E9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1522075" cy="6480175"/>
          </a:xfrm>
        </p:spPr>
        <p:txBody>
          <a:bodyPr/>
          <a:lstStyle>
            <a:lvl1pPr marL="0" marR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Bild einfügen</a:t>
            </a:r>
          </a:p>
          <a:p>
            <a:endParaRPr lang="de-DE"/>
          </a:p>
        </p:txBody>
      </p:sp>
      <p:sp>
        <p:nvSpPr>
          <p:cNvPr id="15" name="Textplatzhalter 11">
            <a:extLst>
              <a:ext uri="{FF2B5EF4-FFF2-40B4-BE49-F238E27FC236}">
                <a16:creationId xmlns:a16="http://schemas.microsoft.com/office/drawing/2014/main" id="{5A3F17AD-30BD-4949-986C-4E12183FD5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88000" y="1040082"/>
            <a:ext cx="8344371" cy="4400010"/>
          </a:xfrm>
          <a:blipFill>
            <a:blip r:embed="rId2"/>
            <a:stretch>
              <a:fillRect l="-14519" b="632"/>
            </a:stretch>
          </a:blipFill>
        </p:spPr>
        <p:txBody>
          <a:bodyPr anchor="ctr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6B827DAE-C0F2-45F1-BCA0-78FACB7183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720000" y="2943225"/>
            <a:ext cx="5811972" cy="857250"/>
          </a:xfrm>
        </p:spPr>
        <p:txBody>
          <a:bodyPr/>
          <a:lstStyle>
            <a:lvl1pPr>
              <a:lnSpc>
                <a:spcPct val="90000"/>
              </a:lnSpc>
              <a:defRPr sz="3000" b="0">
                <a:solidFill>
                  <a:schemeClr val="bg1"/>
                </a:solidFill>
                <a:latin typeface="+mj-lt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E17DF6D3-427D-44FE-9475-CBAAC4E059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720000" y="2673321"/>
            <a:ext cx="5811972" cy="239204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F8BD7985-7253-452D-99F2-66624092410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13.10.2022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B80BC10-AB10-44EB-B58F-34524A2DA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11319F-786E-4F65-AA07-5EFAD0A63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6CC5F3DF-D202-41F7-BB52-A1796F1926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8000" y="5904000"/>
            <a:ext cx="3183162" cy="3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2416029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Visual 2 Magenta+Rot Logo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F39DE651-2549-46A9-B3B4-7BECF549E9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1522075" cy="6480175"/>
          </a:xfrm>
        </p:spPr>
        <p:txBody>
          <a:bodyPr/>
          <a:lstStyle>
            <a:lvl1pPr marL="0" marR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Bild einfügen</a:t>
            </a:r>
          </a:p>
          <a:p>
            <a:endParaRPr lang="de-DE"/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12277225-8B8C-4969-8FFE-C6EA37BC76F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88000" y="1040082"/>
            <a:ext cx="8344371" cy="4400010"/>
          </a:xfrm>
          <a:blipFill>
            <a:blip r:embed="rId2"/>
            <a:stretch>
              <a:fillRect l="-14519" b="632"/>
            </a:stretch>
          </a:blipFill>
        </p:spPr>
        <p:txBody>
          <a:bodyPr anchor="ctr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6B827DAE-C0F2-45F1-BCA0-78FACB7183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720000" y="2943225"/>
            <a:ext cx="5811972" cy="857250"/>
          </a:xfrm>
        </p:spPr>
        <p:txBody>
          <a:bodyPr/>
          <a:lstStyle>
            <a:lvl1pPr>
              <a:lnSpc>
                <a:spcPct val="90000"/>
              </a:lnSpc>
              <a:defRPr sz="3000" b="0">
                <a:solidFill>
                  <a:schemeClr val="bg1"/>
                </a:solidFill>
                <a:latin typeface="+mj-lt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E17DF6D3-427D-44FE-9475-CBAAC4E059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720000" y="2673321"/>
            <a:ext cx="5811972" cy="239204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F8BD7985-7253-452D-99F2-66624092410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10.2022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B80BC10-AB10-44EB-B58F-34524A2DA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11319F-786E-4F65-AA07-5EFAD0A63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FFD3906D-07A9-49DC-84CE-32B479DF47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8000" y="5904000"/>
            <a:ext cx="3183162" cy="3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7006033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Visual 2 Magenta+Violett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F39DE651-2549-46A9-B3B4-7BECF549E9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1522075" cy="6480175"/>
          </a:xfrm>
        </p:spPr>
        <p:txBody>
          <a:bodyPr/>
          <a:lstStyle>
            <a:lvl1pPr marL="0" marR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Bild einfügen</a:t>
            </a:r>
          </a:p>
          <a:p>
            <a:endParaRPr lang="de-DE"/>
          </a:p>
        </p:txBody>
      </p:sp>
      <p:sp>
        <p:nvSpPr>
          <p:cNvPr id="15" name="Textplatzhalter 11">
            <a:extLst>
              <a:ext uri="{FF2B5EF4-FFF2-40B4-BE49-F238E27FC236}">
                <a16:creationId xmlns:a16="http://schemas.microsoft.com/office/drawing/2014/main" id="{7DD47776-6439-4057-BC30-DEC5BE7DF7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88000" y="1040082"/>
            <a:ext cx="8344371" cy="4400010"/>
          </a:xfrm>
          <a:blipFill>
            <a:blip r:embed="rId2"/>
            <a:stretch>
              <a:fillRect l="-14519" b="632"/>
            </a:stretch>
          </a:blipFill>
        </p:spPr>
        <p:txBody>
          <a:bodyPr anchor="ctr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6B827DAE-C0F2-45F1-BCA0-78FACB7183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720000" y="2943225"/>
            <a:ext cx="5811972" cy="857250"/>
          </a:xfrm>
        </p:spPr>
        <p:txBody>
          <a:bodyPr/>
          <a:lstStyle>
            <a:lvl1pPr>
              <a:lnSpc>
                <a:spcPct val="90000"/>
              </a:lnSpc>
              <a:defRPr sz="3000" b="0">
                <a:solidFill>
                  <a:schemeClr val="bg1"/>
                </a:solidFill>
                <a:latin typeface="+mj-lt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E17DF6D3-427D-44FE-9475-CBAAC4E059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720000" y="2673321"/>
            <a:ext cx="5811972" cy="239204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F8BD7985-7253-452D-99F2-66624092410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13.10.2022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B80BC10-AB10-44EB-B58F-34524A2DA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11319F-786E-4F65-AA07-5EFAD0A63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6CC5F3DF-D202-41F7-BB52-A1796F1926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8000" y="5904000"/>
            <a:ext cx="3183162" cy="3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511667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Visual 2 Magenta+Violett Logo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F39DE651-2549-46A9-B3B4-7BECF549E9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1522075" cy="6480175"/>
          </a:xfrm>
        </p:spPr>
        <p:txBody>
          <a:bodyPr/>
          <a:lstStyle>
            <a:lvl1pPr marL="0" marR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Bild einfügen</a:t>
            </a:r>
          </a:p>
          <a:p>
            <a:endParaRPr lang="de-DE"/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6616F61B-6B1A-41DC-84E3-6734FF4828B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88000" y="1040082"/>
            <a:ext cx="8344371" cy="4400010"/>
          </a:xfrm>
          <a:blipFill>
            <a:blip r:embed="rId2"/>
            <a:stretch>
              <a:fillRect l="-14519" b="632"/>
            </a:stretch>
          </a:blipFill>
        </p:spPr>
        <p:txBody>
          <a:bodyPr anchor="ctr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6B827DAE-C0F2-45F1-BCA0-78FACB7183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720000" y="2943225"/>
            <a:ext cx="5811972" cy="857250"/>
          </a:xfrm>
        </p:spPr>
        <p:txBody>
          <a:bodyPr/>
          <a:lstStyle>
            <a:lvl1pPr>
              <a:lnSpc>
                <a:spcPct val="90000"/>
              </a:lnSpc>
              <a:defRPr sz="3000" b="0">
                <a:solidFill>
                  <a:schemeClr val="bg1"/>
                </a:solidFill>
                <a:latin typeface="+mj-lt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E17DF6D3-427D-44FE-9475-CBAAC4E059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720000" y="2673321"/>
            <a:ext cx="5811972" cy="239204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F8BD7985-7253-452D-99F2-66624092410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10.2022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B80BC10-AB10-44EB-B58F-34524A2DA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11319F-786E-4F65-AA07-5EFAD0A63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FFD3906D-07A9-49DC-84CE-32B479DF47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8000" y="5904000"/>
            <a:ext cx="3183162" cy="3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00137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Visual 2 gross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F39DE651-2549-46A9-B3B4-7BECF549E9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1522075" cy="6480175"/>
          </a:xfrm>
        </p:spPr>
        <p:txBody>
          <a:bodyPr/>
          <a:lstStyle>
            <a:lvl1pPr marL="0" marR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Bild einfügen</a:t>
            </a:r>
          </a:p>
          <a:p>
            <a:endParaRPr lang="de-DE"/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7102AB00-77BA-4A19-8749-130980DB33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88000" y="0"/>
            <a:ext cx="11234075" cy="6480175"/>
          </a:xfrm>
          <a:blipFill>
            <a:blip r:embed="rId2"/>
            <a:stretch>
              <a:fillRect l="-16197" t="-14895" r="-11507" b="-11906"/>
            </a:stretch>
          </a:blipFill>
        </p:spPr>
        <p:txBody>
          <a:bodyPr anchor="ctr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6B827DAE-C0F2-45F1-BCA0-78FACB7183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720000" y="1869711"/>
            <a:ext cx="5811972" cy="857250"/>
          </a:xfrm>
        </p:spPr>
        <p:txBody>
          <a:bodyPr/>
          <a:lstStyle>
            <a:lvl1pPr>
              <a:lnSpc>
                <a:spcPct val="90000"/>
              </a:lnSpc>
              <a:defRPr sz="3000" b="0">
                <a:solidFill>
                  <a:schemeClr val="bg1"/>
                </a:solidFill>
                <a:latin typeface="+mj-lt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E17DF6D3-427D-44FE-9475-CBAAC4E059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720000" y="1599807"/>
            <a:ext cx="5811972" cy="239204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F8BD7985-7253-452D-99F2-66624092410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13.10.2022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B80BC10-AB10-44EB-B58F-34524A2DA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11319F-786E-4F65-AA07-5EFAD0A63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6F073422-B432-47C0-8D13-C72794681C0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720000" y="2802796"/>
            <a:ext cx="5811972" cy="2077572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1AB7D86A-31DE-4767-867A-5AB87E468BF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8000" y="5904000"/>
            <a:ext cx="3183162" cy="3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421712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Visual 2 gross Logo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F39DE651-2549-46A9-B3B4-7BECF549E9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1522075" cy="6480175"/>
          </a:xfrm>
        </p:spPr>
        <p:txBody>
          <a:bodyPr/>
          <a:lstStyle>
            <a:lvl1pPr marL="0" marR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Bild einfügen</a:t>
            </a:r>
          </a:p>
          <a:p>
            <a:endParaRPr lang="de-DE"/>
          </a:p>
        </p:txBody>
      </p:sp>
      <p:sp>
        <p:nvSpPr>
          <p:cNvPr id="18" name="Textplatzhalter 11">
            <a:extLst>
              <a:ext uri="{FF2B5EF4-FFF2-40B4-BE49-F238E27FC236}">
                <a16:creationId xmlns:a16="http://schemas.microsoft.com/office/drawing/2014/main" id="{5E712B93-23A7-4980-904E-828789549A7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88000" y="0"/>
            <a:ext cx="11234075" cy="6480175"/>
          </a:xfrm>
          <a:blipFill>
            <a:blip r:embed="rId2"/>
            <a:stretch>
              <a:fillRect l="-16197" t="-14895" r="-11507" b="-11906"/>
            </a:stretch>
          </a:blipFill>
        </p:spPr>
        <p:txBody>
          <a:bodyPr anchor="ctr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6B827DAE-C0F2-45F1-BCA0-78FACB7183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720000" y="1869711"/>
            <a:ext cx="5811972" cy="857250"/>
          </a:xfrm>
        </p:spPr>
        <p:txBody>
          <a:bodyPr/>
          <a:lstStyle>
            <a:lvl1pPr>
              <a:lnSpc>
                <a:spcPct val="90000"/>
              </a:lnSpc>
              <a:defRPr sz="3000" b="0">
                <a:solidFill>
                  <a:schemeClr val="bg1"/>
                </a:solidFill>
                <a:latin typeface="+mj-lt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E17DF6D3-427D-44FE-9475-CBAAC4E059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720000" y="1599807"/>
            <a:ext cx="5811972" cy="239204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F8BD7985-7253-452D-99F2-66624092410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10.2022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B80BC10-AB10-44EB-B58F-34524A2DA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11319F-786E-4F65-AA07-5EFAD0A63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6F073422-B432-47C0-8D13-C72794681C0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720000" y="2802796"/>
            <a:ext cx="5811972" cy="2077572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66EBF54F-6561-46A1-A402-F30B6C1C3E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8000" y="5904000"/>
            <a:ext cx="3183162" cy="3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042231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folie Orange+Gelb+Schwarz">
    <p:bg bwMode="gray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7A99044-35FB-44E9-ADE0-95A5008418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2724" t="22707" r="39993" b="22739"/>
          <a:stretch/>
        </p:blipFill>
        <p:spPr bwMode="gray">
          <a:xfrm>
            <a:off x="288925" y="0"/>
            <a:ext cx="11233150" cy="648017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569109-FF12-4CD4-8B69-3D840F5387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20000" y="3265588"/>
            <a:ext cx="9360000" cy="1071030"/>
          </a:xfrm>
        </p:spPr>
        <p:txBody>
          <a:bodyPr anchor="t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br>
              <a:rPr lang="de-DE"/>
            </a:b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1F4A13E-A6E3-49EA-A5D1-293110C0B0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720000" y="1797048"/>
            <a:ext cx="9360000" cy="1417538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10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9780340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folie Orange+Gelb+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440865-D96D-424D-AC2B-0CCA5B758A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2724" t="22707" r="39993" b="22739"/>
          <a:stretch/>
        </p:blipFill>
        <p:spPr bwMode="gray">
          <a:xfrm>
            <a:off x="288925" y="0"/>
            <a:ext cx="11233150" cy="648017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569109-FF12-4CD4-8B69-3D840F5387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20000" y="3265588"/>
            <a:ext cx="9360000" cy="1071030"/>
          </a:xfrm>
        </p:spPr>
        <p:txBody>
          <a:bodyPr anchor="t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br>
              <a:rPr lang="de-DE"/>
            </a:b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1F4A13E-A6E3-49EA-A5D1-293110C0B0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720000" y="1797048"/>
            <a:ext cx="9360000" cy="1417538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10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636088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und Visual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8D96F61E-4690-4F45-9528-CA69338DC9F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1522075" cy="6480175"/>
          </a:xfrm>
        </p:spPr>
        <p:txBody>
          <a:bodyPr/>
          <a:lstStyle>
            <a:lvl1pPr marL="0" marR="0" indent="0" algn="r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Bild einfügen</a:t>
            </a:r>
          </a:p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C3FD5F4-10BB-4623-8CCC-933351E133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88925" y="0"/>
            <a:ext cx="11208658" cy="6192838"/>
          </a:xfrm>
          <a:blipFill>
            <a:blip r:embed="rId2"/>
            <a:srcRect/>
            <a:stretch>
              <a:fillRect l="-6825" t="-86298" r="-2737" b="-12004"/>
            </a:stretch>
          </a:blipFill>
        </p:spPr>
        <p:txBody>
          <a:bodyPr anchor="b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7FCDDE9-7764-42B0-8F43-2371EBD89BB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76000" y="2354405"/>
            <a:ext cx="6264000" cy="1030590"/>
          </a:xfrm>
        </p:spPr>
        <p:txBody>
          <a:bodyPr anchor="t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E152E4C-FB20-4D19-B4BC-87528428F9C2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76000" y="1606550"/>
            <a:ext cx="6264000" cy="641350"/>
          </a:xfrm>
        </p:spPr>
        <p:txBody>
          <a:bodyPr anchor="b"/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TeleGrotesk Next Thin" pitchFamily="2" charset="0"/>
                <a:ea typeface="TeleGrotesk Next Thin" pitchFamily="2" charset="0"/>
                <a:cs typeface="TeleGrotesk Next Thin" pitchFamily="2" charset="0"/>
              </a:defRPr>
            </a:lvl1pPr>
            <a:lvl2pPr marL="432008" indent="0" algn="ctr">
              <a:buNone/>
              <a:defRPr sz="1890"/>
            </a:lvl2pPr>
            <a:lvl3pPr marL="864017" indent="0" algn="ctr">
              <a:buNone/>
              <a:defRPr sz="1701"/>
            </a:lvl3pPr>
            <a:lvl4pPr marL="1296025" indent="0" algn="ctr">
              <a:buNone/>
              <a:defRPr sz="1512"/>
            </a:lvl4pPr>
            <a:lvl5pPr marL="1728033" indent="0" algn="ctr">
              <a:buNone/>
              <a:defRPr sz="1512"/>
            </a:lvl5pPr>
            <a:lvl6pPr marL="2160041" indent="0" algn="ctr">
              <a:buNone/>
              <a:defRPr sz="1512"/>
            </a:lvl6pPr>
            <a:lvl7pPr marL="2592050" indent="0" algn="ctr">
              <a:buNone/>
              <a:defRPr sz="1512"/>
            </a:lvl7pPr>
            <a:lvl8pPr marL="3024058" indent="0" algn="ctr">
              <a:buNone/>
              <a:defRPr sz="1512"/>
            </a:lvl8pPr>
            <a:lvl9pPr marL="3456066" indent="0" algn="ctr">
              <a:buNone/>
              <a:defRPr sz="1512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C5F196-9EA4-42D3-88A5-4D6A700472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6000" y="5508625"/>
            <a:ext cx="4126711" cy="466711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88355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folie Rot+Blau+Schwarz">
    <p:bg bwMode="gray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D820DE1-E460-4943-A17B-189B0F92BE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2708" t="22701" r="40018" b="22755"/>
          <a:stretch/>
        </p:blipFill>
        <p:spPr bwMode="gray">
          <a:xfrm>
            <a:off x="288926" y="0"/>
            <a:ext cx="11233149" cy="648017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569109-FF12-4CD4-8B69-3D840F5387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20000" y="3265588"/>
            <a:ext cx="9360000" cy="1071030"/>
          </a:xfrm>
        </p:spPr>
        <p:txBody>
          <a:bodyPr anchor="t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br>
              <a:rPr lang="de-DE"/>
            </a:b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1F4A13E-A6E3-49EA-A5D1-293110C0B0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720000" y="1797048"/>
            <a:ext cx="9360000" cy="1417538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10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435387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folie Rot+Blau+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B16BC7C-4ED0-4D54-8834-E4F95EF1E7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2708" t="22701" r="40018" b="22755"/>
          <a:stretch/>
        </p:blipFill>
        <p:spPr bwMode="gray">
          <a:xfrm>
            <a:off x="288926" y="0"/>
            <a:ext cx="11233149" cy="648017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569109-FF12-4CD4-8B69-3D840F5387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20000" y="3265588"/>
            <a:ext cx="9360000" cy="1071030"/>
          </a:xfrm>
        </p:spPr>
        <p:txBody>
          <a:bodyPr anchor="t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br>
              <a:rPr lang="de-DE"/>
            </a:b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1F4A13E-A6E3-49EA-A5D1-293110C0B0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720000" y="1797048"/>
            <a:ext cx="9360000" cy="1417538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1000" b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9524567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schvorlage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10B977-620D-4D3D-8C13-11C22C5F672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7A52A97-34F2-4E52-AD1A-3714571AE3B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13.10.2022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27923FB-DAA9-4647-8B5A-47D721B6D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9BDCE3B-88E9-42A0-8347-83A2602907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15FCE72B-7EB5-4145-B485-684C70E3FD68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288925" y="1476375"/>
            <a:ext cx="5365750" cy="40322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44000" indent="-144000">
              <a:spcBef>
                <a:spcPts val="300"/>
              </a:spcBef>
              <a:defRPr sz="1400"/>
            </a:lvl3pPr>
            <a:lvl4pPr marL="288000" indent="-144000">
              <a:spcBef>
                <a:spcPts val="300"/>
              </a:spcBef>
              <a:defRPr sz="1400"/>
            </a:lvl4pPr>
            <a:lvl5pPr marL="432000" indent="-144000"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6">
            <a:extLst>
              <a:ext uri="{FF2B5EF4-FFF2-40B4-BE49-F238E27FC236}">
                <a16:creationId xmlns:a16="http://schemas.microsoft.com/office/drawing/2014/main" id="{C012E0C9-BEB0-4559-B6FB-F7954FF1B916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5867175" y="1476375"/>
            <a:ext cx="5365750" cy="40322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44000" indent="-144000">
              <a:spcBef>
                <a:spcPts val="300"/>
              </a:spcBef>
              <a:defRPr sz="1400"/>
            </a:lvl3pPr>
            <a:lvl4pPr marL="288000" indent="-144000">
              <a:spcBef>
                <a:spcPts val="300"/>
              </a:spcBef>
              <a:defRPr sz="1400"/>
            </a:lvl4pPr>
            <a:lvl5pPr marL="432000" indent="-144000"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2054565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schvorlage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10B977-620D-4D3D-8C13-11C22C5F672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7A52A97-34F2-4E52-AD1A-3714571AE3B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13.10.2022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27923FB-DAA9-4647-8B5A-47D721B6D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9BDCE3B-88E9-42A0-8347-83A2602907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15FCE72B-7EB5-4145-B485-684C70E3FD68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288925" y="1476375"/>
            <a:ext cx="3504000" cy="40322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44000" indent="-144000">
              <a:spcBef>
                <a:spcPts val="300"/>
              </a:spcBef>
              <a:defRPr sz="1400"/>
            </a:lvl3pPr>
            <a:lvl4pPr marL="288000" indent="-144000">
              <a:spcBef>
                <a:spcPts val="300"/>
              </a:spcBef>
              <a:defRPr sz="1400"/>
            </a:lvl4pPr>
            <a:lvl5pPr marL="432000" indent="-144000"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6">
            <a:extLst>
              <a:ext uri="{FF2B5EF4-FFF2-40B4-BE49-F238E27FC236}">
                <a16:creationId xmlns:a16="http://schemas.microsoft.com/office/drawing/2014/main" id="{C012E0C9-BEB0-4559-B6FB-F7954FF1B916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4008925" y="1476375"/>
            <a:ext cx="3504000" cy="40322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44000" indent="-144000">
              <a:spcBef>
                <a:spcPts val="300"/>
              </a:spcBef>
              <a:defRPr sz="1400"/>
            </a:lvl3pPr>
            <a:lvl4pPr marL="288000" indent="-144000">
              <a:spcBef>
                <a:spcPts val="300"/>
              </a:spcBef>
              <a:defRPr sz="1400"/>
            </a:lvl4pPr>
            <a:lvl5pPr marL="432000" indent="-144000"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644D6401-C386-4A41-85DE-77ED1ADF13EB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>
          <a:xfrm>
            <a:off x="7728925" y="1476375"/>
            <a:ext cx="3504000" cy="40322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44000" indent="-144000">
              <a:spcBef>
                <a:spcPts val="300"/>
              </a:spcBef>
              <a:defRPr sz="1400"/>
            </a:lvl3pPr>
            <a:lvl4pPr marL="288000" indent="-144000">
              <a:spcBef>
                <a:spcPts val="300"/>
              </a:spcBef>
              <a:defRPr sz="1400"/>
            </a:lvl4pPr>
            <a:lvl5pPr marL="432000" indent="-144000"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5723691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schvorlage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10B977-620D-4D3D-8C13-11C22C5F672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7A52A97-34F2-4E52-AD1A-3714571AE3B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13.10.2022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27923FB-DAA9-4647-8B5A-47D721B6D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9BDCE3B-88E9-42A0-8347-83A2602907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15FCE72B-7EB5-4145-B485-684C70E3FD68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288925" y="1476375"/>
            <a:ext cx="2574000" cy="40322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44000" indent="-144000">
              <a:spcBef>
                <a:spcPts val="300"/>
              </a:spcBef>
              <a:defRPr sz="1400"/>
            </a:lvl3pPr>
            <a:lvl4pPr marL="288000" indent="-144000">
              <a:spcBef>
                <a:spcPts val="300"/>
              </a:spcBef>
              <a:defRPr sz="1400"/>
            </a:lvl4pPr>
            <a:lvl5pPr marL="432000" indent="-144000"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6">
            <a:extLst>
              <a:ext uri="{FF2B5EF4-FFF2-40B4-BE49-F238E27FC236}">
                <a16:creationId xmlns:a16="http://schemas.microsoft.com/office/drawing/2014/main" id="{C012E0C9-BEB0-4559-B6FB-F7954FF1B916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3078925" y="1476375"/>
            <a:ext cx="2574000" cy="40322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44000" indent="-144000">
              <a:spcBef>
                <a:spcPts val="300"/>
              </a:spcBef>
              <a:defRPr sz="1400"/>
            </a:lvl3pPr>
            <a:lvl4pPr marL="288000" indent="-144000">
              <a:spcBef>
                <a:spcPts val="300"/>
              </a:spcBef>
              <a:defRPr sz="1400"/>
            </a:lvl4pPr>
            <a:lvl5pPr marL="432000" indent="-144000"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644D6401-C386-4A41-85DE-77ED1ADF13EB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>
          <a:xfrm>
            <a:off x="5868925" y="1476375"/>
            <a:ext cx="2574000" cy="40322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44000" indent="-144000">
              <a:spcBef>
                <a:spcPts val="300"/>
              </a:spcBef>
              <a:defRPr sz="1400"/>
            </a:lvl3pPr>
            <a:lvl4pPr marL="288000" indent="-144000">
              <a:spcBef>
                <a:spcPts val="300"/>
              </a:spcBef>
              <a:defRPr sz="1400"/>
            </a:lvl4pPr>
            <a:lvl5pPr marL="432000" indent="-144000"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CA3CA569-2296-4132-9672-39C787078272}"/>
              </a:ext>
            </a:extLst>
          </p:cNvPr>
          <p:cNvSpPr>
            <a:spLocks noGrp="1"/>
          </p:cNvSpPr>
          <p:nvPr>
            <p:ph sz="quarter" idx="16"/>
          </p:nvPr>
        </p:nvSpPr>
        <p:spPr bwMode="gray">
          <a:xfrm>
            <a:off x="8658925" y="1476375"/>
            <a:ext cx="2574000" cy="40322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44000" indent="-144000">
              <a:spcBef>
                <a:spcPts val="300"/>
              </a:spcBef>
              <a:defRPr sz="1400"/>
            </a:lvl3pPr>
            <a:lvl4pPr marL="288000" indent="-144000">
              <a:spcBef>
                <a:spcPts val="300"/>
              </a:spcBef>
              <a:defRPr sz="1400"/>
            </a:lvl4pPr>
            <a:lvl5pPr marL="432000" indent="-144000"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6789921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schvorlage (3-spaltig mit Bilder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10B977-620D-4D3D-8C13-11C22C5F672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7A52A97-34F2-4E52-AD1A-3714571AE3B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13.10.2022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27923FB-DAA9-4647-8B5A-47D721B6D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9BDCE3B-88E9-42A0-8347-83A2602907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15FCE72B-7EB5-4145-B485-684C70E3FD68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288925" y="4267200"/>
            <a:ext cx="3504000" cy="124142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44000" indent="-144000">
              <a:spcBef>
                <a:spcPts val="300"/>
              </a:spcBef>
              <a:defRPr sz="1400"/>
            </a:lvl3pPr>
            <a:lvl4pPr marL="288000" indent="-144000">
              <a:spcBef>
                <a:spcPts val="300"/>
              </a:spcBef>
              <a:defRPr sz="1400"/>
            </a:lvl4pPr>
            <a:lvl5pPr marL="432000" indent="-144000"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6">
            <a:extLst>
              <a:ext uri="{FF2B5EF4-FFF2-40B4-BE49-F238E27FC236}">
                <a16:creationId xmlns:a16="http://schemas.microsoft.com/office/drawing/2014/main" id="{C012E0C9-BEB0-4559-B6FB-F7954FF1B916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4008925" y="4267200"/>
            <a:ext cx="3504000" cy="124142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44000" indent="-144000">
              <a:spcBef>
                <a:spcPts val="300"/>
              </a:spcBef>
              <a:defRPr sz="1400"/>
            </a:lvl3pPr>
            <a:lvl4pPr marL="288000" indent="-144000">
              <a:spcBef>
                <a:spcPts val="300"/>
              </a:spcBef>
              <a:defRPr sz="1400"/>
            </a:lvl4pPr>
            <a:lvl5pPr marL="432000" indent="-144000"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644D6401-C386-4A41-85DE-77ED1ADF13EB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>
          <a:xfrm>
            <a:off x="7728925" y="4267200"/>
            <a:ext cx="3504000" cy="124142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44000" indent="-144000">
              <a:spcBef>
                <a:spcPts val="300"/>
              </a:spcBef>
              <a:defRPr sz="1400"/>
            </a:lvl3pPr>
            <a:lvl4pPr marL="288000" indent="-144000">
              <a:spcBef>
                <a:spcPts val="300"/>
              </a:spcBef>
              <a:defRPr sz="1400"/>
            </a:lvl4pPr>
            <a:lvl5pPr marL="432000" indent="-144000"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1A095117-9906-4CC6-AA50-B971849781A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288925" y="1476375"/>
            <a:ext cx="3504000" cy="260985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17B21D73-9A12-45DD-A09D-75C8D2F8A67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4008925" y="1476375"/>
            <a:ext cx="3504000" cy="260985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4A35E03C-5992-4774-9872-E66F081396F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7728925" y="1476375"/>
            <a:ext cx="3504000" cy="260985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873B1BA-969B-47C4-90B8-D722EFD75E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88925" y="1476375"/>
            <a:ext cx="3504000" cy="581025"/>
          </a:xfrm>
        </p:spPr>
        <p:txBody>
          <a:bodyPr lIns="108000" tIns="72000" rIns="108000" bIns="72000"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16043189-89CD-4620-92D7-3A848E5258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008925" y="1476375"/>
            <a:ext cx="3504000" cy="581025"/>
          </a:xfrm>
        </p:spPr>
        <p:txBody>
          <a:bodyPr lIns="108000" tIns="72000" rIns="108000" bIns="72000"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3E7C6156-6CE7-4A81-A7D5-70CBDA5273E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7728925" y="1476375"/>
            <a:ext cx="3504000" cy="581025"/>
          </a:xfrm>
        </p:spPr>
        <p:txBody>
          <a:bodyPr lIns="108000" tIns="72000" rIns="108000" bIns="72000"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54505444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schvorlage (4-spaltig mit Bilder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10B977-620D-4D3D-8C13-11C22C5F672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7A52A97-34F2-4E52-AD1A-3714571AE3B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13.10.2022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27923FB-DAA9-4647-8B5A-47D721B6D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9BDCE3B-88E9-42A0-8347-83A2602907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15FCE72B-7EB5-4145-B485-684C70E3FD68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288925" y="4267200"/>
            <a:ext cx="2574000" cy="124142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44000" indent="-144000">
              <a:spcBef>
                <a:spcPts val="300"/>
              </a:spcBef>
              <a:defRPr sz="1400"/>
            </a:lvl3pPr>
            <a:lvl4pPr marL="288000" indent="-144000">
              <a:spcBef>
                <a:spcPts val="300"/>
              </a:spcBef>
              <a:defRPr sz="1400"/>
            </a:lvl4pPr>
            <a:lvl5pPr marL="432000" indent="-144000"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6">
            <a:extLst>
              <a:ext uri="{FF2B5EF4-FFF2-40B4-BE49-F238E27FC236}">
                <a16:creationId xmlns:a16="http://schemas.microsoft.com/office/drawing/2014/main" id="{C012E0C9-BEB0-4559-B6FB-F7954FF1B916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3078925" y="4267200"/>
            <a:ext cx="2574000" cy="124142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44000" indent="-144000">
              <a:spcBef>
                <a:spcPts val="300"/>
              </a:spcBef>
              <a:defRPr sz="1400"/>
            </a:lvl3pPr>
            <a:lvl4pPr marL="288000" indent="-144000">
              <a:spcBef>
                <a:spcPts val="300"/>
              </a:spcBef>
              <a:defRPr sz="1400"/>
            </a:lvl4pPr>
            <a:lvl5pPr marL="432000" indent="-144000"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644D6401-C386-4A41-85DE-77ED1ADF13EB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>
          <a:xfrm>
            <a:off x="5868925" y="4267200"/>
            <a:ext cx="2574000" cy="124142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44000" indent="-144000">
              <a:spcBef>
                <a:spcPts val="300"/>
              </a:spcBef>
              <a:defRPr sz="1400"/>
            </a:lvl3pPr>
            <a:lvl4pPr marL="288000" indent="-144000">
              <a:spcBef>
                <a:spcPts val="300"/>
              </a:spcBef>
              <a:defRPr sz="1400"/>
            </a:lvl4pPr>
            <a:lvl5pPr marL="432000" indent="-144000"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CA3CA569-2296-4132-9672-39C787078272}"/>
              </a:ext>
            </a:extLst>
          </p:cNvPr>
          <p:cNvSpPr>
            <a:spLocks noGrp="1"/>
          </p:cNvSpPr>
          <p:nvPr>
            <p:ph sz="quarter" idx="16"/>
          </p:nvPr>
        </p:nvSpPr>
        <p:spPr bwMode="gray">
          <a:xfrm>
            <a:off x="8658925" y="4267200"/>
            <a:ext cx="2574000" cy="124142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44000" indent="-144000">
              <a:spcBef>
                <a:spcPts val="300"/>
              </a:spcBef>
              <a:defRPr sz="1400"/>
            </a:lvl3pPr>
            <a:lvl4pPr marL="288000" indent="-144000">
              <a:spcBef>
                <a:spcPts val="300"/>
              </a:spcBef>
              <a:defRPr sz="1400"/>
            </a:lvl4pPr>
            <a:lvl5pPr marL="432000" indent="-144000"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1A095117-9906-4CC6-AA50-B971849781A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288925" y="1476375"/>
            <a:ext cx="2574000" cy="260985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17B21D73-9A12-45DD-A09D-75C8D2F8A67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3078925" y="1476375"/>
            <a:ext cx="2574000" cy="260985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4A35E03C-5992-4774-9872-E66F081396F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5868925" y="1476375"/>
            <a:ext cx="2574000" cy="260985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10">
            <a:extLst>
              <a:ext uri="{FF2B5EF4-FFF2-40B4-BE49-F238E27FC236}">
                <a16:creationId xmlns:a16="http://schemas.microsoft.com/office/drawing/2014/main" id="{625D11A0-E92E-47F7-9BE5-9FCBA1285A8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8658925" y="1476375"/>
            <a:ext cx="2574000" cy="260985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06625424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B611090-DC0A-462C-BD29-C56AD055714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1522075" cy="6480175"/>
          </a:xfrm>
        </p:spPr>
        <p:txBody>
          <a:bodyPr/>
          <a:lstStyle>
            <a:lvl1pPr marL="0" marR="0" indent="0" algn="r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Bild einfügen</a:t>
            </a:r>
          </a:p>
          <a:p>
            <a:endParaRPr lang="de-DE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28448DA7-C972-467C-8EA3-E65D96B5E7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88925" y="0"/>
            <a:ext cx="11233150" cy="6480175"/>
          </a:xfrm>
          <a:blipFill>
            <a:blip r:embed="rId2"/>
            <a:stretch>
              <a:fillRect l="-18632" t="-14312" r="-28072" b="-32500"/>
            </a:stretch>
          </a:blipFill>
        </p:spPr>
        <p:txBody>
          <a:bodyPr anchor="ctr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62B86B45-B72B-416A-8465-E3AB6C7A73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76000" y="2354405"/>
            <a:ext cx="6264000" cy="1030590"/>
          </a:xfrm>
        </p:spPr>
        <p:txBody>
          <a:bodyPr anchor="t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!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90EEF29-3551-43AB-9C18-0A363BA0F4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6000" y="5508000"/>
            <a:ext cx="4126711" cy="466711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01090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und Visual Magenta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5">
            <a:extLst>
              <a:ext uri="{FF2B5EF4-FFF2-40B4-BE49-F238E27FC236}">
                <a16:creationId xmlns:a16="http://schemas.microsoft.com/office/drawing/2014/main" id="{D67FA57A-160A-494B-A9B1-1131472357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-1" y="0"/>
            <a:ext cx="11522075" cy="6480175"/>
          </a:xfrm>
        </p:spPr>
        <p:txBody>
          <a:bodyPr/>
          <a:lstStyle>
            <a:lvl1pPr marL="0" marR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Bild einfügen</a:t>
            </a:r>
          </a:p>
          <a:p>
            <a:endParaRPr lang="de-DE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56419379-7C13-409E-B4D5-467E83D996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8925" y="-8164"/>
            <a:ext cx="10477047" cy="6480175"/>
          </a:xfrm>
          <a:blipFill>
            <a:blip r:embed="rId2"/>
            <a:stretch>
              <a:fillRect l="-6609" t="-62325" r="-3" b="-5905"/>
            </a:stretch>
          </a:blipFill>
        </p:spPr>
        <p:txBody>
          <a:bodyPr anchor="b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7FCDDE9-7764-42B0-8F43-2371EBD89BB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76000" y="2354404"/>
            <a:ext cx="5123771" cy="1500045"/>
          </a:xfrm>
        </p:spPr>
        <p:txBody>
          <a:bodyPr anchor="t"/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E152E4C-FB20-4D19-B4BC-87528428F9C2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76000" y="1606550"/>
            <a:ext cx="5123771" cy="641350"/>
          </a:xfrm>
        </p:spPr>
        <p:txBody>
          <a:bodyPr anchor="b"/>
          <a:lstStyle>
            <a:lvl1pPr marL="0" indent="0" algn="l">
              <a:buNone/>
              <a:defRPr sz="1600" b="0">
                <a:solidFill>
                  <a:schemeClr val="bg1"/>
                </a:solidFill>
                <a:latin typeface="TeleGrotesk Next Thin" pitchFamily="2" charset="0"/>
                <a:ea typeface="TeleGrotesk Next Thin" pitchFamily="2" charset="0"/>
                <a:cs typeface="TeleGrotesk Next Thin" pitchFamily="2" charset="0"/>
              </a:defRPr>
            </a:lvl1pPr>
            <a:lvl2pPr marL="432008" indent="0" algn="ctr">
              <a:buNone/>
              <a:defRPr sz="1890"/>
            </a:lvl2pPr>
            <a:lvl3pPr marL="864017" indent="0" algn="ctr">
              <a:buNone/>
              <a:defRPr sz="1701"/>
            </a:lvl3pPr>
            <a:lvl4pPr marL="1296025" indent="0" algn="ctr">
              <a:buNone/>
              <a:defRPr sz="1512"/>
            </a:lvl4pPr>
            <a:lvl5pPr marL="1728033" indent="0" algn="ctr">
              <a:buNone/>
              <a:defRPr sz="1512"/>
            </a:lvl5pPr>
            <a:lvl6pPr marL="2160041" indent="0" algn="ctr">
              <a:buNone/>
              <a:defRPr sz="1512"/>
            </a:lvl6pPr>
            <a:lvl7pPr marL="2592050" indent="0" algn="ctr">
              <a:buNone/>
              <a:defRPr sz="1512"/>
            </a:lvl7pPr>
            <a:lvl8pPr marL="3024058" indent="0" algn="ctr">
              <a:buNone/>
              <a:defRPr sz="1512"/>
            </a:lvl8pPr>
            <a:lvl9pPr marL="3456066" indent="0" algn="ctr">
              <a:buNone/>
              <a:defRPr sz="1512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72FE4901-9830-41DC-9AD2-A828B13E12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6000" y="5508625"/>
            <a:ext cx="4126711" cy="466711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08920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und Visual Magenta+Rot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5">
            <a:extLst>
              <a:ext uri="{FF2B5EF4-FFF2-40B4-BE49-F238E27FC236}">
                <a16:creationId xmlns:a16="http://schemas.microsoft.com/office/drawing/2014/main" id="{D67FA57A-160A-494B-A9B1-1131472357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-1" y="0"/>
            <a:ext cx="11522075" cy="6480175"/>
          </a:xfrm>
        </p:spPr>
        <p:txBody>
          <a:bodyPr/>
          <a:lstStyle>
            <a:lvl1pPr marL="0" marR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Bild einfügen</a:t>
            </a:r>
          </a:p>
          <a:p>
            <a:endParaRPr lang="de-DE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C388988D-922E-4681-82F7-FD0D21E16A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8925" y="-8164"/>
            <a:ext cx="10477047" cy="6480175"/>
          </a:xfrm>
          <a:blipFill>
            <a:blip r:embed="rId2"/>
            <a:stretch>
              <a:fillRect l="-6609" t="-62325" r="-3" b="-5905"/>
            </a:stretch>
          </a:blipFill>
        </p:spPr>
        <p:txBody>
          <a:bodyPr anchor="b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7FCDDE9-7764-42B0-8F43-2371EBD89BB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76000" y="2354404"/>
            <a:ext cx="5123771" cy="1500045"/>
          </a:xfrm>
        </p:spPr>
        <p:txBody>
          <a:bodyPr anchor="t"/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E152E4C-FB20-4D19-B4BC-87528428F9C2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76000" y="1606550"/>
            <a:ext cx="5123771" cy="641350"/>
          </a:xfrm>
        </p:spPr>
        <p:txBody>
          <a:bodyPr anchor="b"/>
          <a:lstStyle>
            <a:lvl1pPr marL="0" indent="0" algn="l">
              <a:buNone/>
              <a:defRPr sz="1600" b="0">
                <a:solidFill>
                  <a:schemeClr val="bg1"/>
                </a:solidFill>
                <a:latin typeface="TeleGrotesk Next Thin" pitchFamily="2" charset="0"/>
                <a:ea typeface="TeleGrotesk Next Thin" pitchFamily="2" charset="0"/>
                <a:cs typeface="TeleGrotesk Next Thin" pitchFamily="2" charset="0"/>
              </a:defRPr>
            </a:lvl1pPr>
            <a:lvl2pPr marL="432008" indent="0" algn="ctr">
              <a:buNone/>
              <a:defRPr sz="1890"/>
            </a:lvl2pPr>
            <a:lvl3pPr marL="864017" indent="0" algn="ctr">
              <a:buNone/>
              <a:defRPr sz="1701"/>
            </a:lvl3pPr>
            <a:lvl4pPr marL="1296025" indent="0" algn="ctr">
              <a:buNone/>
              <a:defRPr sz="1512"/>
            </a:lvl4pPr>
            <a:lvl5pPr marL="1728033" indent="0" algn="ctr">
              <a:buNone/>
              <a:defRPr sz="1512"/>
            </a:lvl5pPr>
            <a:lvl6pPr marL="2160041" indent="0" algn="ctr">
              <a:buNone/>
              <a:defRPr sz="1512"/>
            </a:lvl6pPr>
            <a:lvl7pPr marL="2592050" indent="0" algn="ctr">
              <a:buNone/>
              <a:defRPr sz="1512"/>
            </a:lvl7pPr>
            <a:lvl8pPr marL="3024058" indent="0" algn="ctr">
              <a:buNone/>
              <a:defRPr sz="1512"/>
            </a:lvl8pPr>
            <a:lvl9pPr marL="3456066" indent="0" algn="ctr">
              <a:buNone/>
              <a:defRPr sz="1512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72FE4901-9830-41DC-9AD2-A828B13E12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6000" y="5508625"/>
            <a:ext cx="4126711" cy="466711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289890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und Visual 2 Magenta+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8D96F61E-4690-4F45-9528-CA69338DC9F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1522075" cy="6480175"/>
          </a:xfrm>
        </p:spPr>
        <p:txBody>
          <a:bodyPr/>
          <a:lstStyle>
            <a:lvl1pPr marL="0" marR="0" indent="0" algn="r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Bild einfügen</a:t>
            </a:r>
          </a:p>
          <a:p>
            <a:endParaRPr lang="de-DE"/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F3E3F46F-6671-4564-8AC8-29DCED7AF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88924" y="0"/>
            <a:ext cx="11233151" cy="6480175"/>
          </a:xfrm>
          <a:blipFill>
            <a:blip r:embed="rId2"/>
            <a:stretch>
              <a:fillRect l="-18505" t="-13810" r="-27595" b="-32288"/>
            </a:stretch>
          </a:blipFill>
        </p:spPr>
        <p:txBody>
          <a:bodyPr anchor="ctr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7FCDDE9-7764-42B0-8F43-2371EBD89BB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76000" y="2354405"/>
            <a:ext cx="6912000" cy="1030590"/>
          </a:xfrm>
        </p:spPr>
        <p:txBody>
          <a:bodyPr anchor="t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E152E4C-FB20-4D19-B4BC-87528428F9C2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76000" y="1606550"/>
            <a:ext cx="6912000" cy="641350"/>
          </a:xfrm>
        </p:spPr>
        <p:txBody>
          <a:bodyPr anchor="b"/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TeleGrotesk Next Thin" pitchFamily="2" charset="0"/>
                <a:ea typeface="TeleGrotesk Next Thin" pitchFamily="2" charset="0"/>
                <a:cs typeface="TeleGrotesk Next Thin" pitchFamily="2" charset="0"/>
              </a:defRPr>
            </a:lvl1pPr>
            <a:lvl2pPr marL="432008" indent="0" algn="ctr">
              <a:buNone/>
              <a:defRPr sz="1890"/>
            </a:lvl2pPr>
            <a:lvl3pPr marL="864017" indent="0" algn="ctr">
              <a:buNone/>
              <a:defRPr sz="1701"/>
            </a:lvl3pPr>
            <a:lvl4pPr marL="1296025" indent="0" algn="ctr">
              <a:buNone/>
              <a:defRPr sz="1512"/>
            </a:lvl4pPr>
            <a:lvl5pPr marL="1728033" indent="0" algn="ctr">
              <a:buNone/>
              <a:defRPr sz="1512"/>
            </a:lvl5pPr>
            <a:lvl6pPr marL="2160041" indent="0" algn="ctr">
              <a:buNone/>
              <a:defRPr sz="1512"/>
            </a:lvl6pPr>
            <a:lvl7pPr marL="2592050" indent="0" algn="ctr">
              <a:buNone/>
              <a:defRPr sz="1512"/>
            </a:lvl7pPr>
            <a:lvl8pPr marL="3024058" indent="0" algn="ctr">
              <a:buNone/>
              <a:defRPr sz="1512"/>
            </a:lvl8pPr>
            <a:lvl9pPr marL="3456066" indent="0" algn="ctr">
              <a:buNone/>
              <a:defRPr sz="1512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921C00FE-B1CE-41D1-820C-AF13809EF9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6000" y="5508625"/>
            <a:ext cx="4126711" cy="466711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914424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und Visual 2 Magenta+Viol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8D96F61E-4690-4F45-9528-CA69338DC9F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1522075" cy="6480175"/>
          </a:xfrm>
        </p:spPr>
        <p:txBody>
          <a:bodyPr/>
          <a:lstStyle>
            <a:lvl1pPr marL="0" marR="0" indent="0" algn="r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Bild einfügen</a:t>
            </a:r>
          </a:p>
          <a:p>
            <a:endParaRPr lang="de-DE"/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A54057EC-56B5-4FD4-B746-03974E989B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88924" y="0"/>
            <a:ext cx="11233151" cy="6480175"/>
          </a:xfrm>
          <a:blipFill>
            <a:blip r:embed="rId2"/>
            <a:stretch>
              <a:fillRect l="-18505" t="-13810" r="-27595" b="-32288"/>
            </a:stretch>
          </a:blipFill>
        </p:spPr>
        <p:txBody>
          <a:bodyPr anchor="ctr"/>
          <a:lstStyle>
            <a:lvl1pPr>
              <a:defRPr sz="1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7FCDDE9-7764-42B0-8F43-2371EBD89BB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76000" y="2354405"/>
            <a:ext cx="6912000" cy="1030590"/>
          </a:xfrm>
        </p:spPr>
        <p:txBody>
          <a:bodyPr anchor="t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E152E4C-FB20-4D19-B4BC-87528428F9C2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76000" y="1606550"/>
            <a:ext cx="6912000" cy="641350"/>
          </a:xfrm>
        </p:spPr>
        <p:txBody>
          <a:bodyPr anchor="b"/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TeleGrotesk Next Thin" pitchFamily="2" charset="0"/>
                <a:ea typeface="TeleGrotesk Next Thin" pitchFamily="2" charset="0"/>
                <a:cs typeface="TeleGrotesk Next Thin" pitchFamily="2" charset="0"/>
              </a:defRPr>
            </a:lvl1pPr>
            <a:lvl2pPr marL="432008" indent="0" algn="ctr">
              <a:buNone/>
              <a:defRPr sz="1890"/>
            </a:lvl2pPr>
            <a:lvl3pPr marL="864017" indent="0" algn="ctr">
              <a:buNone/>
              <a:defRPr sz="1701"/>
            </a:lvl3pPr>
            <a:lvl4pPr marL="1296025" indent="0" algn="ctr">
              <a:buNone/>
              <a:defRPr sz="1512"/>
            </a:lvl4pPr>
            <a:lvl5pPr marL="1728033" indent="0" algn="ctr">
              <a:buNone/>
              <a:defRPr sz="1512"/>
            </a:lvl5pPr>
            <a:lvl6pPr marL="2160041" indent="0" algn="ctr">
              <a:buNone/>
              <a:defRPr sz="1512"/>
            </a:lvl6pPr>
            <a:lvl7pPr marL="2592050" indent="0" algn="ctr">
              <a:buNone/>
              <a:defRPr sz="1512"/>
            </a:lvl7pPr>
            <a:lvl8pPr marL="3024058" indent="0" algn="ctr">
              <a:buNone/>
              <a:defRPr sz="1512"/>
            </a:lvl8pPr>
            <a:lvl9pPr marL="3456066" indent="0" algn="ctr">
              <a:buNone/>
              <a:defRPr sz="1512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921C00FE-B1CE-41D1-820C-AF13809EF9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6000" y="5508625"/>
            <a:ext cx="4126711" cy="466711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83108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868367-24E8-40CA-9962-2741BB0A071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13.10.2022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51B8FF4-C9C1-4B4E-B383-7238C6C1D3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641C87-3215-4896-AD39-4F6BB13FE3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2AE5D1E-1424-4731-B0F2-3F9D403B8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9610463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17920DB-71AB-4A6A-8876-D98EE43F35C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88925" y="287338"/>
            <a:ext cx="1094400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Mastertitelformat bearbeiten</a:t>
            </a:r>
            <a:br>
              <a:rPr lang="de-DE"/>
            </a:br>
            <a:br>
              <a:rPr lang="de-DE"/>
            </a:b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75D52A-C778-4718-8FCF-9EA4A5C303A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88925" y="1476376"/>
            <a:ext cx="10944225" cy="40322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DD07D2-50A3-4690-A820-C185591E002C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767882" y="6084000"/>
            <a:ext cx="999180" cy="102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10.2022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4837CF3-1D7D-4AD7-BA21-63985E8282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867400" y="6084000"/>
            <a:ext cx="3794394" cy="102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48427D-6C09-4028-B44E-8FD8ED5391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873150" y="6084000"/>
            <a:ext cx="360000" cy="102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ED44C2C6-9CD0-43A4-AEF8-0F30BF8483B1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70258D07-7092-47E0-8FA2-80FBF1B408F6}"/>
              </a:ext>
            </a:extLst>
          </p:cNvPr>
          <p:cNvPicPr>
            <a:picLocks noChangeAspect="1"/>
          </p:cNvPicPr>
          <p:nvPr userDrawn="1"/>
        </p:nvPicPr>
        <p:blipFill>
          <a:blip r:embed="rId49"/>
          <a:stretch>
            <a:fillRect/>
          </a:stretch>
        </p:blipFill>
        <p:spPr bwMode="gray">
          <a:xfrm>
            <a:off x="288925" y="5903913"/>
            <a:ext cx="3200400" cy="361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071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720" r:id="rId2"/>
    <p:sldLayoutId id="2147483719" r:id="rId3"/>
    <p:sldLayoutId id="2147483654" r:id="rId4"/>
    <p:sldLayoutId id="2147483655" r:id="rId5"/>
    <p:sldLayoutId id="2147483722" r:id="rId6"/>
    <p:sldLayoutId id="2147483728" r:id="rId7"/>
    <p:sldLayoutId id="2147483729" r:id="rId8"/>
    <p:sldLayoutId id="2147483661" r:id="rId9"/>
    <p:sldLayoutId id="2147483662" r:id="rId10"/>
    <p:sldLayoutId id="2147483663" r:id="rId11"/>
    <p:sldLayoutId id="2147483664" r:id="rId12"/>
    <p:sldLayoutId id="2147483665" r:id="rId13"/>
    <p:sldLayoutId id="2147483666" r:id="rId14"/>
    <p:sldLayoutId id="2147483680" r:id="rId15"/>
    <p:sldLayoutId id="2147483689" r:id="rId16"/>
    <p:sldLayoutId id="2147483660" r:id="rId17"/>
    <p:sldLayoutId id="2147483667" r:id="rId18"/>
    <p:sldLayoutId id="2147483668" r:id="rId19"/>
    <p:sldLayoutId id="2147483657" r:id="rId20"/>
    <p:sldLayoutId id="2147483682" r:id="rId21"/>
    <p:sldLayoutId id="2147483730" r:id="rId22"/>
    <p:sldLayoutId id="2147483731" r:id="rId23"/>
    <p:sldLayoutId id="2147483658" r:id="rId24"/>
    <p:sldLayoutId id="2147483683" r:id="rId25"/>
    <p:sldLayoutId id="2147483732" r:id="rId26"/>
    <p:sldLayoutId id="2147483733" r:id="rId27"/>
    <p:sldLayoutId id="2147483672" r:id="rId28"/>
    <p:sldLayoutId id="2147483684" r:id="rId29"/>
    <p:sldLayoutId id="2147483734" r:id="rId30"/>
    <p:sldLayoutId id="2147483735" r:id="rId31"/>
    <p:sldLayoutId id="2147483673" r:id="rId32"/>
    <p:sldLayoutId id="2147483685" r:id="rId33"/>
    <p:sldLayoutId id="2147483736" r:id="rId34"/>
    <p:sldLayoutId id="2147483737" r:id="rId35"/>
    <p:sldLayoutId id="2147483687" r:id="rId36"/>
    <p:sldLayoutId id="2147483688" r:id="rId37"/>
    <p:sldLayoutId id="2147483651" r:id="rId38"/>
    <p:sldLayoutId id="2147483738" r:id="rId39"/>
    <p:sldLayoutId id="2147483739" r:id="rId40"/>
    <p:sldLayoutId id="2147483740" r:id="rId41"/>
    <p:sldLayoutId id="2147483669" r:id="rId42"/>
    <p:sldLayoutId id="2147483670" r:id="rId43"/>
    <p:sldLayoutId id="2147483671" r:id="rId44"/>
    <p:sldLayoutId id="2147483681" r:id="rId45"/>
    <p:sldLayoutId id="2147483674" r:id="rId46"/>
    <p:sldLayoutId id="2147483690" r:id="rId47"/>
  </p:sldLayoutIdLst>
  <p:hf hdr="0"/>
  <p:txStyles>
    <p:titleStyle>
      <a:lvl1pPr algn="l" defTabSz="864017" rtl="0" eaLnBrk="1" latinLnBrk="0" hangingPunct="1">
        <a:lnSpc>
          <a:spcPct val="85000"/>
        </a:lnSpc>
        <a:spcBef>
          <a:spcPct val="0"/>
        </a:spcBef>
        <a:buNone/>
        <a:defRPr sz="3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64017" rtl="0" eaLnBrk="1" latinLnBrk="0" hangingPunct="1">
        <a:lnSpc>
          <a:spcPct val="100000"/>
        </a:lnSpc>
        <a:spcBef>
          <a:spcPts val="1200"/>
        </a:spcBef>
        <a:buFontTx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864017" rtl="0" eaLnBrk="1" latinLnBrk="0" hangingPunct="1">
        <a:lnSpc>
          <a:spcPct val="100000"/>
        </a:lnSpc>
        <a:spcBef>
          <a:spcPts val="300"/>
        </a:spcBef>
        <a:buSzPct val="80000"/>
        <a:buFontTx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864017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SzPct val="100000"/>
        <a:buFont typeface="TeleGrotesk Next" pitchFamily="2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864017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SzPct val="100000"/>
        <a:buFont typeface="TeleGrotesk Next" pitchFamily="2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864017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SzPct val="100000"/>
        <a:buFont typeface="TeleGrotesk Next" pitchFamily="2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1" userDrawn="1">
          <p15:clr>
            <a:srgbClr val="F26B43"/>
          </p15:clr>
        </p15:guide>
        <p15:guide id="2" pos="182" userDrawn="1">
          <p15:clr>
            <a:srgbClr val="F26B43"/>
          </p15:clr>
        </p15:guide>
        <p15:guide id="3" pos="7076" userDrawn="1">
          <p15:clr>
            <a:srgbClr val="F26B43"/>
          </p15:clr>
        </p15:guide>
        <p15:guide id="4" orient="horz" pos="3470" userDrawn="1">
          <p15:clr>
            <a:srgbClr val="F26B43"/>
          </p15:clr>
        </p15:guide>
        <p15:guide id="5" orient="horz" pos="3719" userDrawn="1">
          <p15:clr>
            <a:srgbClr val="F26B43"/>
          </p15:clr>
        </p15:guide>
        <p15:guide id="6" orient="horz" pos="3901" userDrawn="1">
          <p15:clr>
            <a:srgbClr val="F26B43"/>
          </p15:clr>
        </p15:guide>
        <p15:guide id="7" orient="horz" pos="930" userDrawn="1">
          <p15:clr>
            <a:srgbClr val="F26B43"/>
          </p15:clr>
        </p15:guide>
        <p15:guide id="9" pos="1803" userDrawn="1">
          <p15:clr>
            <a:srgbClr val="F26B43"/>
          </p15:clr>
        </p15:guide>
        <p15:guide id="10" pos="1940" userDrawn="1">
          <p15:clr>
            <a:srgbClr val="F26B43"/>
          </p15:clr>
        </p15:guide>
        <p15:guide id="11" pos="5454" userDrawn="1">
          <p15:clr>
            <a:srgbClr val="F26B43"/>
          </p15:clr>
        </p15:guide>
        <p15:guide id="12" pos="5318" userDrawn="1">
          <p15:clr>
            <a:srgbClr val="F26B43"/>
          </p15:clr>
        </p15:guide>
        <p15:guide id="13" pos="3561" userDrawn="1">
          <p15:clr>
            <a:srgbClr val="F26B43"/>
          </p15:clr>
        </p15:guide>
        <p15:guide id="14" pos="3696" userDrawn="1">
          <p15:clr>
            <a:srgbClr val="F26B43"/>
          </p15:clr>
        </p15:guide>
        <p15:guide id="15" orient="horz" pos="32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31.xml"/><Relationship Id="rId4" Type="http://schemas.openxmlformats.org/officeDocument/2006/relationships/hyperlink" Target="https://www.berlin.de/ausstellungen/archiv/6932722-3238788-schinkel-pavillion-hr-giger-mire-lee.html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s://telekom.sharepoint.de/sites/PFV/Freigegebene%20Dokumente/Forms/AllItems.aspx?id=%2Fsites%2FPFV%2FFreigegebene%20Dokumente%2F06%5Fberichtswesen%2F01%5FBU%5Fweekly%5Fdaily%2FArchiv%2F2022%2F20220607%5FPFV%5FDaily%2Emkv&amp;viewid=6183ebcb%2D23a1%2D48e3%2D8eb8%2D540188d484e1&amp;parent=%2Fsites%2FPFV%2FFreigegebene%20Dokumente%2F06%5Fberichtswesen%2F01%5FBU%5Fweekly%5Fdaily%2FArchiv%2F2022" TargetMode="External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telekom.sharepoint.de/sites/PFV/Freigegebene%20Dokumente/Forms/AllItems.aspx?id=%2Fsites%2FPFV%2FFreigegebene%20Dokumente%2F06%5Fberichtswesen%2F01%5FBU%5Fweekly%5Fdaily%2FArchiv%2F2022%2F20220720%5FPFV%5FDaily%2Emkv&amp;viewid=6183ebcb%2D23a1%2D48e3%2D8eb8%2D540188d484e1&amp;parent=%2Fsites%2FPFV%2FFreigegebene%20Dokumente%2F06%5Fberichtswesen%2F01%5FBU%5Fweekly%5Fdaily%2FArchiv%2F2022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Gebäude, Stein, Zement enthält.&#10;&#10;Automatisch generierte Beschreibung">
            <a:extLst>
              <a:ext uri="{FF2B5EF4-FFF2-40B4-BE49-F238E27FC236}">
                <a16:creationId xmlns:a16="http://schemas.microsoft.com/office/drawing/2014/main" id="{2B245ED7-630C-475D-9C83-7020C9526CB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5"/>
          <a:stretch/>
        </p:blipFill>
        <p:spPr>
          <a:xfrm>
            <a:off x="882" y="0"/>
            <a:ext cx="11520311" cy="6480175"/>
          </a:xfrm>
          <a:prstGeom prst="rect">
            <a:avLst/>
          </a:prstGeom>
          <a:noFill/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70F97AD-9790-3433-B57E-1FBD7843C7A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67400" y="3240087"/>
            <a:ext cx="6061075" cy="440001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29D2BEB4-8B07-A3B8-E2EB-9319D3A24ED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67882" y="6084000"/>
            <a:ext cx="999180" cy="10205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</a:rPr>
              <a:t>13.10.2022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73263D58-7EFE-71E9-B91D-A4119549EA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67400" y="6084000"/>
            <a:ext cx="3794394" cy="10205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- IFS GmbH - BU PFV Daily - intern -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A2D6DA3-3578-FF93-5511-F23FFA74C4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73150" y="6084000"/>
            <a:ext cx="360000" cy="102050"/>
          </a:xfrm>
        </p:spPr>
        <p:txBody>
          <a:bodyPr/>
          <a:lstStyle/>
          <a:p>
            <a:pPr>
              <a:spcAft>
                <a:spcPts val="600"/>
              </a:spcAft>
            </a:pPr>
            <a:fld id="{ED44C2C6-9CD0-43A4-AEF8-0F30BF8483B1}" type="slidenum">
              <a:rPr lang="de-DE" smtClean="0">
                <a:solidFill>
                  <a:schemeClr val="bg1"/>
                </a:solidFill>
              </a:rPr>
              <a:pPr>
                <a:spcAft>
                  <a:spcPts val="600"/>
                </a:spcAft>
              </a:pPr>
              <a:t>1</a:t>
            </a:fld>
            <a:endParaRPr lang="de-DE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08BC1D2-86F8-446E-990F-6D1C005FEE3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66400" y="5179366"/>
            <a:ext cx="4285074" cy="857250"/>
          </a:xfrm>
        </p:spPr>
        <p:txBody>
          <a:bodyPr vert="horz" lIns="0" tIns="0" rIns="0" bIns="0" rtlCol="0">
            <a:normAutofit/>
          </a:bodyPr>
          <a:lstStyle/>
          <a:p>
            <a:r>
              <a:rPr lang="de-DE" b="0" kern="1200" dirty="0">
                <a:latin typeface="+mj-lt"/>
                <a:ea typeface="TeleGrotesk Next" pitchFamily="2" charset="0"/>
                <a:cs typeface="TeleGrotesk Next" pitchFamily="2" charset="0"/>
              </a:rPr>
              <a:t>PFV-Daily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907A6FE-1424-4C65-A0BB-A6BCFDE26E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66401" y="4909462"/>
            <a:ext cx="4285074" cy="239204"/>
          </a:xfr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90000"/>
              </a:lnSpc>
            </a:pPr>
            <a:r>
              <a:rPr lang="de-DE" b="0" kern="1200" dirty="0">
                <a:latin typeface="TeleGrotesk Next" pitchFamily="2" charset="0"/>
                <a:ea typeface="TeleGrotesk Next" pitchFamily="2" charset="0"/>
                <a:cs typeface="TeleGrotesk Next" pitchFamily="2" charset="0"/>
              </a:rPr>
              <a:t>13.10.2022 | intern</a:t>
            </a:r>
          </a:p>
        </p:txBody>
      </p:sp>
      <p:sp>
        <p:nvSpPr>
          <p:cNvPr id="6" name="Textfeld 5"/>
          <p:cNvSpPr txBox="1"/>
          <p:nvPr/>
        </p:nvSpPr>
        <p:spPr bwMode="gray">
          <a:xfrm>
            <a:off x="288000" y="5904000"/>
            <a:ext cx="3183162" cy="3600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vert="horz" lIns="0" tIns="0" rIns="0" bIns="0" rtlCol="0">
            <a:normAutofit/>
          </a:bodyPr>
          <a:lstStyle/>
          <a:p>
            <a:pPr defTabSz="864017">
              <a:spcBef>
                <a:spcPts val="1200"/>
              </a:spcBef>
            </a:pPr>
            <a:r>
              <a:rPr lang="de-DE" sz="100" b="1" kern="1200">
                <a:solidFill>
                  <a:schemeClr val="bg2"/>
                </a:solidFill>
                <a:latin typeface="+mn-lt"/>
                <a:ea typeface="+mn-ea"/>
                <a:cs typeface="+mn-cs"/>
              </a:rPr>
              <a:t>Danke ??? für das Bild</a:t>
            </a:r>
          </a:p>
          <a:p>
            <a:pPr defTabSz="864017">
              <a:spcBef>
                <a:spcPts val="1200"/>
              </a:spcBef>
            </a:pPr>
            <a:r>
              <a:rPr lang="de-DE" sz="100" b="1" kern="1200">
                <a:solidFill>
                  <a:schemeClr val="bg2"/>
                </a:solidFill>
                <a:latin typeface="+mn-lt"/>
                <a:ea typeface="+mn-ea"/>
                <a:cs typeface="+mn-cs"/>
              </a:rPr>
              <a:t>???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B772051-069E-4D4C-846E-ACE8ABE4A467}"/>
              </a:ext>
            </a:extLst>
          </p:cNvPr>
          <p:cNvSpPr txBox="1"/>
          <p:nvPr/>
        </p:nvSpPr>
        <p:spPr>
          <a:xfrm>
            <a:off x="8670345" y="1241526"/>
            <a:ext cx="2647411" cy="2579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300"/>
              </a:spcBef>
            </a:pPr>
            <a:r>
              <a:rPr lang="de-DE" sz="1600" b="1" dirty="0">
                <a:solidFill>
                  <a:schemeClr val="bg1"/>
                </a:solidFill>
              </a:rPr>
              <a:t>Danke Felix Zemlin für das Bild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8BC1E7E-9A29-42C0-BA08-1BBF53B6A091}"/>
              </a:ext>
            </a:extLst>
          </p:cNvPr>
          <p:cNvSpPr txBox="1"/>
          <p:nvPr/>
        </p:nvSpPr>
        <p:spPr>
          <a:xfrm>
            <a:off x="8465414" y="1689155"/>
            <a:ext cx="3057272" cy="2579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de-DE" sz="1600" b="1" dirty="0">
                <a:solidFill>
                  <a:schemeClr val="bg1"/>
                </a:solidFill>
              </a:rPr>
              <a:t>Ausstellung </a:t>
            </a:r>
            <a:br>
              <a:rPr lang="de-DE" sz="1600" b="1" dirty="0">
                <a:solidFill>
                  <a:schemeClr val="bg1"/>
                </a:solidFill>
              </a:rPr>
            </a:br>
            <a:r>
              <a:rPr lang="de-DE" sz="1600" b="1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«HR Giger &amp; Mire Lee»</a:t>
            </a:r>
            <a:endParaRPr lang="de-DE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28583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Gebäude, Stein, Zement enthält.&#10;&#10;Automatisch generierte Beschreibung">
            <a:extLst>
              <a:ext uri="{FF2B5EF4-FFF2-40B4-BE49-F238E27FC236}">
                <a16:creationId xmlns:a16="http://schemas.microsoft.com/office/drawing/2014/main" id="{04955B35-39DB-4047-A229-0B5AECC54B9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5"/>
          <a:stretch/>
        </p:blipFill>
        <p:spPr>
          <a:xfrm>
            <a:off x="0" y="0"/>
            <a:ext cx="11520311" cy="6480175"/>
          </a:xfrm>
          <a:prstGeom prst="rect">
            <a:avLst/>
          </a:prstGeom>
          <a:noFill/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377AE47-3846-4069-94EE-25FB2B25B87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467350" y="3240087"/>
            <a:ext cx="6054725" cy="440001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5760155" y="5095035"/>
            <a:ext cx="4255113" cy="6901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de-DE" sz="3200" b="1" dirty="0">
                <a:solidFill>
                  <a:schemeClr val="bg1"/>
                </a:solidFill>
              </a:rPr>
              <a:t>Habt einen schönen Tag!</a:t>
            </a:r>
          </a:p>
        </p:txBody>
      </p:sp>
    </p:spTree>
    <p:extLst>
      <p:ext uri="{BB962C8B-B14F-4D97-AF65-F5344CB8AC3E}">
        <p14:creationId xmlns:p14="http://schemas.microsoft.com/office/powerpoint/2010/main" val="36718798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1" name="Gruppieren 120"/>
          <p:cNvGrpSpPr/>
          <p:nvPr/>
        </p:nvGrpSpPr>
        <p:grpSpPr>
          <a:xfrm>
            <a:off x="-2" y="5672818"/>
            <a:ext cx="10871203" cy="708502"/>
            <a:chOff x="-2" y="5771674"/>
            <a:chExt cx="10871203" cy="708502"/>
          </a:xfrm>
        </p:grpSpPr>
        <p:sp>
          <p:nvSpPr>
            <p:cNvPr id="122" name="Rechteck 121"/>
            <p:cNvSpPr/>
            <p:nvPr/>
          </p:nvSpPr>
          <p:spPr bwMode="gray">
            <a:xfrm>
              <a:off x="-2" y="5771674"/>
              <a:ext cx="10871203" cy="708502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>
                <a:solidFill>
                  <a:srgbClr val="4B4B4B"/>
                </a:solidFill>
                <a:cs typeface="TeleGrotesk Next" pitchFamily="2" charset="0"/>
              </a:endParaRPr>
            </a:p>
          </p:txBody>
        </p:sp>
        <p:grpSp>
          <p:nvGrpSpPr>
            <p:cNvPr id="123" name="Gruppieren 122"/>
            <p:cNvGrpSpPr/>
            <p:nvPr/>
          </p:nvGrpSpPr>
          <p:grpSpPr>
            <a:xfrm>
              <a:off x="324000" y="6015673"/>
              <a:ext cx="9926533" cy="184025"/>
              <a:chOff x="324000" y="6018054"/>
              <a:chExt cx="9926533" cy="184025"/>
            </a:xfrm>
          </p:grpSpPr>
          <p:sp>
            <p:nvSpPr>
              <p:cNvPr id="124" name="Rectangle 14"/>
              <p:cNvSpPr>
                <a:spLocks noChangeArrowheads="1"/>
              </p:cNvSpPr>
              <p:nvPr/>
            </p:nvSpPr>
            <p:spPr bwMode="gray">
              <a:xfrm>
                <a:off x="324000" y="6018054"/>
                <a:ext cx="1301959" cy="1840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marL="1588">
                  <a:lnSpc>
                    <a:spcPct val="104000"/>
                  </a:lnSpc>
                </a:pPr>
                <a:r>
                  <a:rPr lang="de-DE" sz="1150" cap="all" dirty="0">
                    <a:solidFill>
                      <a:srgbClr val="E20074"/>
                    </a:solidFill>
                    <a:latin typeface="TeleGrotesk Next Ultra" pitchFamily="2" charset="0"/>
                    <a:sym typeface="TeleGrotesk Next Ultra" pitchFamily="2" charset="0"/>
                  </a:rPr>
                  <a:t>Navigationsleiste</a:t>
                </a:r>
              </a:p>
            </p:txBody>
          </p:sp>
          <p:sp>
            <p:nvSpPr>
              <p:cNvPr id="125" name="Rectangle 15"/>
              <p:cNvSpPr>
                <a:spLocks noChangeArrowheads="1"/>
              </p:cNvSpPr>
              <p:nvPr/>
            </p:nvSpPr>
            <p:spPr bwMode="gray">
              <a:xfrm>
                <a:off x="2336640" y="6018054"/>
                <a:ext cx="968535" cy="1840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marL="1588">
                  <a:lnSpc>
                    <a:spcPct val="104000"/>
                  </a:lnSpc>
                </a:pPr>
                <a:r>
                  <a:rPr lang="de-DE" sz="1150" cap="all" dirty="0">
                    <a:solidFill>
                      <a:srgbClr val="4B4B4B"/>
                    </a:solidFill>
                    <a:latin typeface="TeleGrotesk Next Ultra" pitchFamily="2" charset="0"/>
                    <a:sym typeface="TeleGrotesk Next Ultra" pitchFamily="2" charset="0"/>
                  </a:rPr>
                  <a:t>Zum Kopieren</a:t>
                </a:r>
              </a:p>
            </p:txBody>
          </p:sp>
          <p:sp>
            <p:nvSpPr>
              <p:cNvPr id="126" name="Rectangle 16"/>
              <p:cNvSpPr>
                <a:spLocks noChangeArrowheads="1"/>
              </p:cNvSpPr>
              <p:nvPr/>
            </p:nvSpPr>
            <p:spPr bwMode="gray">
              <a:xfrm>
                <a:off x="4019062" y="6018054"/>
                <a:ext cx="1083951" cy="1840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marL="1588">
                  <a:lnSpc>
                    <a:spcPct val="104000"/>
                  </a:lnSpc>
                </a:pPr>
                <a:r>
                  <a:rPr lang="de-DE" sz="1150" cap="all" dirty="0">
                    <a:solidFill>
                      <a:srgbClr val="4B4B4B"/>
                    </a:solidFill>
                    <a:latin typeface="TeleGrotesk Next Ultra" pitchFamily="2" charset="0"/>
                    <a:sym typeface="TeleGrotesk Next Ultra" pitchFamily="2" charset="0"/>
                  </a:rPr>
                  <a:t>Auf Ihre Folien</a:t>
                </a:r>
              </a:p>
            </p:txBody>
          </p:sp>
          <p:sp>
            <p:nvSpPr>
              <p:cNvPr id="127" name="Rectangle 17"/>
              <p:cNvSpPr>
                <a:spLocks noChangeArrowheads="1"/>
              </p:cNvSpPr>
              <p:nvPr/>
            </p:nvSpPr>
            <p:spPr bwMode="gray">
              <a:xfrm>
                <a:off x="5808885" y="6018054"/>
                <a:ext cx="649537" cy="1840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marL="1588">
                  <a:lnSpc>
                    <a:spcPct val="104000"/>
                  </a:lnSpc>
                </a:pPr>
                <a:r>
                  <a:rPr lang="de-DE" sz="1150" cap="all" dirty="0">
                    <a:solidFill>
                      <a:srgbClr val="4B4B4B"/>
                    </a:solidFill>
                    <a:latin typeface="TeleGrotesk Next Ultra" pitchFamily="2" charset="0"/>
                    <a:sym typeface="TeleGrotesk Next Ultra" pitchFamily="2" charset="0"/>
                  </a:rPr>
                  <a:t>Das Logo</a:t>
                </a:r>
              </a:p>
            </p:txBody>
          </p:sp>
          <p:sp>
            <p:nvSpPr>
              <p:cNvPr id="128" name="Rectangle 18"/>
              <p:cNvSpPr>
                <a:spLocks noChangeArrowheads="1"/>
              </p:cNvSpPr>
              <p:nvPr/>
            </p:nvSpPr>
            <p:spPr bwMode="gray">
              <a:xfrm>
                <a:off x="7188339" y="6018054"/>
                <a:ext cx="641522" cy="1840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marL="1588">
                  <a:lnSpc>
                    <a:spcPct val="104000"/>
                  </a:lnSpc>
                </a:pPr>
                <a:r>
                  <a:rPr lang="de-DE" sz="1150" cap="all" dirty="0">
                    <a:solidFill>
                      <a:srgbClr val="4B4B4B"/>
                    </a:solidFill>
                    <a:latin typeface="TeleGrotesk Next Ultra" pitchFamily="2" charset="0"/>
                    <a:sym typeface="TeleGrotesk Next Ultra" pitchFamily="2" charset="0"/>
                  </a:rPr>
                  <a:t>Entfällt</a:t>
                </a:r>
              </a:p>
            </p:txBody>
          </p:sp>
          <p:sp>
            <p:nvSpPr>
              <p:cNvPr id="129" name="Rectangle 19"/>
              <p:cNvSpPr>
                <a:spLocks noChangeArrowheads="1"/>
              </p:cNvSpPr>
              <p:nvPr/>
            </p:nvSpPr>
            <p:spPr bwMode="gray">
              <a:xfrm>
                <a:off x="8559778" y="6018054"/>
                <a:ext cx="654346" cy="1840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marL="1588">
                  <a:lnSpc>
                    <a:spcPct val="104000"/>
                  </a:lnSpc>
                </a:pPr>
                <a:r>
                  <a:rPr lang="de-DE" sz="1150" cap="all" dirty="0">
                    <a:solidFill>
                      <a:srgbClr val="4B4B4B"/>
                    </a:solidFill>
                    <a:latin typeface="TeleGrotesk Next Ultra" pitchFamily="2" charset="0"/>
                    <a:sym typeface="TeleGrotesk Next Ultra" pitchFamily="2" charset="0"/>
                  </a:rPr>
                  <a:t>In diesem</a:t>
                </a:r>
              </a:p>
            </p:txBody>
          </p:sp>
          <p:sp>
            <p:nvSpPr>
              <p:cNvPr id="130" name="Rectangle 20"/>
              <p:cNvSpPr>
                <a:spLocks noChangeArrowheads="1"/>
              </p:cNvSpPr>
              <p:nvPr/>
            </p:nvSpPr>
            <p:spPr bwMode="gray">
              <a:xfrm>
                <a:off x="9937627" y="6018054"/>
                <a:ext cx="312906" cy="1840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marL="1588">
                  <a:lnSpc>
                    <a:spcPct val="104000"/>
                  </a:lnSpc>
                </a:pPr>
                <a:r>
                  <a:rPr lang="de-DE" sz="1150" cap="all" dirty="0">
                    <a:solidFill>
                      <a:srgbClr val="4B4B4B"/>
                    </a:solidFill>
                    <a:latin typeface="TeleGrotesk Next Ultra" pitchFamily="2" charset="0"/>
                    <a:sym typeface="TeleGrotesk Next Ultra" pitchFamily="2" charset="0"/>
                  </a:rPr>
                  <a:t>Fall</a:t>
                </a:r>
              </a:p>
            </p:txBody>
          </p:sp>
        </p:grpSp>
      </p:grpSp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Gruppierung 5"/>
          <p:cNvGrpSpPr/>
          <p:nvPr/>
        </p:nvGrpSpPr>
        <p:grpSpPr bwMode="ltGray">
          <a:xfrm>
            <a:off x="-1" y="0"/>
            <a:ext cx="11522076" cy="6480175"/>
            <a:chOff x="-1" y="0"/>
            <a:chExt cx="11522076" cy="6480175"/>
          </a:xfrm>
        </p:grpSpPr>
        <p:cxnSp>
          <p:nvCxnSpPr>
            <p:cNvPr id="87" name="Gerade Verbindung 22"/>
            <p:cNvCxnSpPr>
              <a:cxnSpLocks noChangeShapeType="1"/>
            </p:cNvCxnSpPr>
            <p:nvPr/>
          </p:nvCxnSpPr>
          <p:spPr bwMode="ltGray">
            <a:xfrm flipH="1">
              <a:off x="0" y="324000"/>
              <a:ext cx="11520000" cy="0"/>
            </a:xfrm>
            <a:prstGeom prst="line">
              <a:avLst/>
            </a:prstGeom>
            <a:noFill/>
            <a:ln w="12700" algn="ctr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</p:spPr>
        </p:cxnSp>
        <p:cxnSp>
          <p:nvCxnSpPr>
            <p:cNvPr id="88" name="Gerade Verbindung 22"/>
            <p:cNvCxnSpPr>
              <a:cxnSpLocks noChangeShapeType="1"/>
            </p:cNvCxnSpPr>
            <p:nvPr/>
          </p:nvCxnSpPr>
          <p:spPr bwMode="ltGray">
            <a:xfrm flipH="1">
              <a:off x="0" y="6155207"/>
              <a:ext cx="11522075" cy="0"/>
            </a:xfrm>
            <a:prstGeom prst="line">
              <a:avLst/>
            </a:prstGeom>
            <a:noFill/>
            <a:ln w="12700" algn="ctr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</p:cxnSp>
        <p:cxnSp>
          <p:nvCxnSpPr>
            <p:cNvPr id="91" name="Gerade Verbindung 22"/>
            <p:cNvCxnSpPr>
              <a:cxnSpLocks noChangeShapeType="1"/>
            </p:cNvCxnSpPr>
            <p:nvPr/>
          </p:nvCxnSpPr>
          <p:spPr bwMode="ltGray">
            <a:xfrm flipH="1">
              <a:off x="-1" y="5508625"/>
              <a:ext cx="11520000" cy="0"/>
            </a:xfrm>
            <a:prstGeom prst="line">
              <a:avLst/>
            </a:prstGeom>
            <a:noFill/>
            <a:ln w="12700" algn="ctr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</p:cxnSp>
        <p:cxnSp>
          <p:nvCxnSpPr>
            <p:cNvPr id="96" name="Gerade Verbindung 22"/>
            <p:cNvCxnSpPr>
              <a:cxnSpLocks noChangeShapeType="1"/>
            </p:cNvCxnSpPr>
            <p:nvPr/>
          </p:nvCxnSpPr>
          <p:spPr bwMode="ltGray">
            <a:xfrm flipH="1">
              <a:off x="0" y="5184000"/>
              <a:ext cx="11520000" cy="0"/>
            </a:xfrm>
            <a:prstGeom prst="line">
              <a:avLst/>
            </a:prstGeom>
            <a:noFill/>
            <a:ln w="12700" algn="ctr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</p:cxnSp>
        <p:sp>
          <p:nvSpPr>
            <p:cNvPr id="97" name="Line 96"/>
            <p:cNvSpPr>
              <a:spLocks noChangeShapeType="1"/>
            </p:cNvSpPr>
            <p:nvPr/>
          </p:nvSpPr>
          <p:spPr bwMode="ltGray">
            <a:xfrm>
              <a:off x="324000" y="0"/>
              <a:ext cx="0" cy="6480000"/>
            </a:xfrm>
            <a:prstGeom prst="line">
              <a:avLst/>
            </a:prstGeom>
            <a:noFill/>
            <a:ln w="12700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  <p:txBody>
            <a:bodyPr lIns="91428" tIns="45714" rIns="91428" bIns="45714"/>
            <a:lstStyle/>
            <a:p>
              <a:pPr defTabSz="457142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200" dirty="0">
                <a:solidFill>
                  <a:srgbClr val="A4A4A4">
                    <a:lumMod val="40000"/>
                    <a:lumOff val="60000"/>
                  </a:srgbClr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endParaRPr>
            </a:p>
          </p:txBody>
        </p:sp>
        <p:sp>
          <p:nvSpPr>
            <p:cNvPr id="98" name="Line 97"/>
            <p:cNvSpPr>
              <a:spLocks noChangeShapeType="1"/>
            </p:cNvSpPr>
            <p:nvPr/>
          </p:nvSpPr>
          <p:spPr bwMode="ltGray">
            <a:xfrm>
              <a:off x="11196638" y="0"/>
              <a:ext cx="0" cy="6480000"/>
            </a:xfrm>
            <a:prstGeom prst="line">
              <a:avLst/>
            </a:prstGeom>
            <a:noFill/>
            <a:ln w="12700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  <p:txBody>
            <a:bodyPr lIns="91428" tIns="45714" rIns="91428" bIns="45714"/>
            <a:lstStyle/>
            <a:p>
              <a:pPr defTabSz="457142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dirty="0">
                <a:solidFill>
                  <a:srgbClr val="A4A4A4">
                    <a:lumMod val="40000"/>
                    <a:lumOff val="60000"/>
                  </a:srgbClr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endParaRPr>
            </a:p>
          </p:txBody>
        </p:sp>
        <p:cxnSp>
          <p:nvCxnSpPr>
            <p:cNvPr id="99" name="Gerade Verbindung 22"/>
            <p:cNvCxnSpPr>
              <a:cxnSpLocks noChangeShapeType="1"/>
            </p:cNvCxnSpPr>
            <p:nvPr/>
          </p:nvCxnSpPr>
          <p:spPr bwMode="ltGray">
            <a:xfrm flipH="1">
              <a:off x="0" y="1474723"/>
              <a:ext cx="11520000" cy="0"/>
            </a:xfrm>
            <a:prstGeom prst="line">
              <a:avLst/>
            </a:prstGeom>
            <a:noFill/>
            <a:ln w="12700" algn="ctr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</p:cxnSp>
        <p:sp>
          <p:nvSpPr>
            <p:cNvPr id="100" name="Line 102"/>
            <p:cNvSpPr>
              <a:spLocks noChangeShapeType="1"/>
            </p:cNvSpPr>
            <p:nvPr/>
          </p:nvSpPr>
          <p:spPr bwMode="ltGray">
            <a:xfrm>
              <a:off x="5689600" y="0"/>
              <a:ext cx="0" cy="6480000"/>
            </a:xfrm>
            <a:prstGeom prst="line">
              <a:avLst/>
            </a:prstGeom>
            <a:noFill/>
            <a:ln w="12700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  <p:txBody>
            <a:bodyPr lIns="91428" tIns="45714" rIns="91428" bIns="45714"/>
            <a:lstStyle/>
            <a:p>
              <a:pPr defTabSz="457142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dirty="0">
                <a:solidFill>
                  <a:srgbClr val="A4A4A4">
                    <a:lumMod val="40000"/>
                    <a:lumOff val="60000"/>
                  </a:srgbClr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endParaRPr>
            </a:p>
          </p:txBody>
        </p:sp>
        <p:sp>
          <p:nvSpPr>
            <p:cNvPr id="101" name="Line 103"/>
            <p:cNvSpPr>
              <a:spLocks noChangeShapeType="1"/>
            </p:cNvSpPr>
            <p:nvPr/>
          </p:nvSpPr>
          <p:spPr bwMode="ltGray">
            <a:xfrm>
              <a:off x="5832475" y="0"/>
              <a:ext cx="0" cy="6480000"/>
            </a:xfrm>
            <a:prstGeom prst="line">
              <a:avLst/>
            </a:prstGeom>
            <a:noFill/>
            <a:ln w="12700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  <p:txBody>
            <a:bodyPr lIns="91428" tIns="45714" rIns="91428" bIns="45714"/>
            <a:lstStyle/>
            <a:p>
              <a:pPr defTabSz="457142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dirty="0">
                <a:solidFill>
                  <a:srgbClr val="A4A4A4">
                    <a:lumMod val="40000"/>
                    <a:lumOff val="60000"/>
                  </a:srgbClr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endParaRPr>
            </a:p>
          </p:txBody>
        </p:sp>
        <p:sp>
          <p:nvSpPr>
            <p:cNvPr id="102" name="Line 104"/>
            <p:cNvSpPr>
              <a:spLocks noChangeShapeType="1"/>
            </p:cNvSpPr>
            <p:nvPr/>
          </p:nvSpPr>
          <p:spPr bwMode="ltGray">
            <a:xfrm>
              <a:off x="8586000" y="0"/>
              <a:ext cx="0" cy="6480000"/>
            </a:xfrm>
            <a:prstGeom prst="line">
              <a:avLst/>
            </a:prstGeom>
            <a:noFill/>
            <a:ln w="12700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  <p:txBody>
            <a:bodyPr lIns="115214" tIns="57607" rIns="115214" bIns="57607"/>
            <a:lstStyle/>
            <a:p>
              <a:pPr defTabSz="457142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dirty="0">
                <a:solidFill>
                  <a:srgbClr val="A4A4A4">
                    <a:lumMod val="40000"/>
                    <a:lumOff val="60000"/>
                  </a:srgbClr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endParaRPr>
            </a:p>
          </p:txBody>
        </p:sp>
        <p:sp>
          <p:nvSpPr>
            <p:cNvPr id="103" name="Line 105"/>
            <p:cNvSpPr>
              <a:spLocks noChangeShapeType="1"/>
            </p:cNvSpPr>
            <p:nvPr/>
          </p:nvSpPr>
          <p:spPr bwMode="ltGray">
            <a:xfrm>
              <a:off x="3078163" y="175"/>
              <a:ext cx="0" cy="6480000"/>
            </a:xfrm>
            <a:prstGeom prst="line">
              <a:avLst/>
            </a:prstGeom>
            <a:noFill/>
            <a:ln w="12700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  <p:txBody>
            <a:bodyPr lIns="115214" tIns="57607" rIns="115214" bIns="57607"/>
            <a:lstStyle/>
            <a:p>
              <a:pPr defTabSz="457142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dirty="0">
                <a:solidFill>
                  <a:srgbClr val="A4A4A4">
                    <a:lumMod val="40000"/>
                    <a:lumOff val="60000"/>
                  </a:srgbClr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endParaRPr>
            </a:p>
          </p:txBody>
        </p:sp>
        <p:cxnSp>
          <p:nvCxnSpPr>
            <p:cNvPr id="104" name="Gerade Verbindung 22"/>
            <p:cNvCxnSpPr>
              <a:cxnSpLocks noChangeShapeType="1"/>
            </p:cNvCxnSpPr>
            <p:nvPr/>
          </p:nvCxnSpPr>
          <p:spPr bwMode="ltGray">
            <a:xfrm flipH="1">
              <a:off x="0" y="5831541"/>
              <a:ext cx="11522075" cy="0"/>
            </a:xfrm>
            <a:prstGeom prst="line">
              <a:avLst/>
            </a:prstGeom>
            <a:noFill/>
            <a:ln w="12700" algn="ctr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</p:cxnSp>
        <p:sp>
          <p:nvSpPr>
            <p:cNvPr id="105" name="Line 104"/>
            <p:cNvSpPr>
              <a:spLocks noChangeShapeType="1"/>
            </p:cNvSpPr>
            <p:nvPr/>
          </p:nvSpPr>
          <p:spPr bwMode="ltGray">
            <a:xfrm>
              <a:off x="8442000" y="0"/>
              <a:ext cx="0" cy="6480000"/>
            </a:xfrm>
            <a:prstGeom prst="line">
              <a:avLst/>
            </a:prstGeom>
            <a:noFill/>
            <a:ln w="12700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  <p:txBody>
            <a:bodyPr lIns="115214" tIns="57607" rIns="115214" bIns="57607"/>
            <a:lstStyle/>
            <a:p>
              <a:pPr defTabSz="457142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dirty="0">
                <a:solidFill>
                  <a:srgbClr val="A4A4A4">
                    <a:lumMod val="40000"/>
                    <a:lumOff val="60000"/>
                  </a:srgbClr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endParaRPr>
            </a:p>
          </p:txBody>
        </p:sp>
        <p:sp>
          <p:nvSpPr>
            <p:cNvPr id="106" name="Line 105"/>
            <p:cNvSpPr>
              <a:spLocks noChangeShapeType="1"/>
            </p:cNvSpPr>
            <p:nvPr/>
          </p:nvSpPr>
          <p:spPr bwMode="ltGray">
            <a:xfrm>
              <a:off x="2934000" y="0"/>
              <a:ext cx="0" cy="6480000"/>
            </a:xfrm>
            <a:prstGeom prst="line">
              <a:avLst/>
            </a:prstGeom>
            <a:noFill/>
            <a:ln w="12700">
              <a:solidFill>
                <a:srgbClr val="000000">
                  <a:alpha val="15000"/>
                </a:srgbClr>
              </a:solidFill>
              <a:round/>
              <a:headEnd/>
              <a:tailEnd/>
            </a:ln>
            <a:effectLst/>
          </p:spPr>
          <p:txBody>
            <a:bodyPr lIns="115214" tIns="57607" rIns="115214" bIns="57607"/>
            <a:lstStyle/>
            <a:p>
              <a:pPr defTabSz="457142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dirty="0">
                <a:solidFill>
                  <a:srgbClr val="A4A4A4">
                    <a:lumMod val="40000"/>
                    <a:lumOff val="60000"/>
                  </a:srgbClr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endParaRPr>
            </a:p>
          </p:txBody>
        </p:sp>
        <p:sp>
          <p:nvSpPr>
            <p:cNvPr id="107" name="Textfeld 106"/>
            <p:cNvSpPr txBox="1"/>
            <p:nvPr/>
          </p:nvSpPr>
          <p:spPr bwMode="ltGray">
            <a:xfrm>
              <a:off x="324000" y="38100"/>
              <a:ext cx="331822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15,10</a:t>
              </a:r>
            </a:p>
          </p:txBody>
        </p:sp>
        <p:sp>
          <p:nvSpPr>
            <p:cNvPr id="108" name="Textfeld 107"/>
            <p:cNvSpPr txBox="1"/>
            <p:nvPr/>
          </p:nvSpPr>
          <p:spPr bwMode="ltGray">
            <a:xfrm>
              <a:off x="2649447" y="38100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7,85</a:t>
              </a:r>
            </a:p>
          </p:txBody>
        </p:sp>
        <p:sp>
          <p:nvSpPr>
            <p:cNvPr id="109" name="Textfeld 108"/>
            <p:cNvSpPr txBox="1"/>
            <p:nvPr/>
          </p:nvSpPr>
          <p:spPr bwMode="ltGray">
            <a:xfrm>
              <a:off x="3106738" y="38100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7,45</a:t>
              </a:r>
            </a:p>
          </p:txBody>
        </p:sp>
        <p:sp>
          <p:nvSpPr>
            <p:cNvPr id="110" name="Textfeld 109"/>
            <p:cNvSpPr txBox="1"/>
            <p:nvPr/>
          </p:nvSpPr>
          <p:spPr bwMode="ltGray">
            <a:xfrm>
              <a:off x="8616950" y="38100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7,85</a:t>
              </a:r>
            </a:p>
          </p:txBody>
        </p:sp>
        <p:sp>
          <p:nvSpPr>
            <p:cNvPr id="111" name="Textfeld 110"/>
            <p:cNvSpPr txBox="1"/>
            <p:nvPr/>
          </p:nvSpPr>
          <p:spPr bwMode="ltGray">
            <a:xfrm>
              <a:off x="8159379" y="38100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7,45</a:t>
              </a:r>
            </a:p>
          </p:txBody>
        </p:sp>
        <p:sp>
          <p:nvSpPr>
            <p:cNvPr id="112" name="Textfeld 111"/>
            <p:cNvSpPr txBox="1"/>
            <p:nvPr/>
          </p:nvSpPr>
          <p:spPr bwMode="ltGray">
            <a:xfrm>
              <a:off x="5404164" y="38100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0,20</a:t>
              </a:r>
            </a:p>
          </p:txBody>
        </p:sp>
        <p:sp>
          <p:nvSpPr>
            <p:cNvPr id="113" name="Textfeld 112"/>
            <p:cNvSpPr txBox="1"/>
            <p:nvPr/>
          </p:nvSpPr>
          <p:spPr bwMode="ltGray">
            <a:xfrm>
              <a:off x="5861050" y="38100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0,20</a:t>
              </a:r>
            </a:p>
          </p:txBody>
        </p:sp>
        <p:sp>
          <p:nvSpPr>
            <p:cNvPr id="114" name="Textfeld 113"/>
            <p:cNvSpPr txBox="1"/>
            <p:nvPr/>
          </p:nvSpPr>
          <p:spPr bwMode="ltGray">
            <a:xfrm>
              <a:off x="10831513" y="38100"/>
              <a:ext cx="331822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A4A4A4">
                      <a:lumMod val="40000"/>
                      <a:lumOff val="60000"/>
                    </a:srgbClr>
                  </a:solidFill>
                  <a:ea typeface="TeleGrotesk Next" pitchFamily="2" charset="0"/>
                </a:rPr>
                <a:t>15,10</a:t>
              </a:r>
            </a:p>
          </p:txBody>
        </p:sp>
        <p:sp>
          <p:nvSpPr>
            <p:cNvPr id="115" name="Textfeld 114"/>
            <p:cNvSpPr txBox="1"/>
            <p:nvPr/>
          </p:nvSpPr>
          <p:spPr bwMode="ltGray">
            <a:xfrm>
              <a:off x="11219342" y="329641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8,10</a:t>
              </a:r>
            </a:p>
          </p:txBody>
        </p:sp>
        <p:sp>
          <p:nvSpPr>
            <p:cNvPr id="116" name="Textfeld 115"/>
            <p:cNvSpPr txBox="1"/>
            <p:nvPr/>
          </p:nvSpPr>
          <p:spPr bwMode="ltGray">
            <a:xfrm>
              <a:off x="11219342" y="1492464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4,90</a:t>
              </a:r>
            </a:p>
          </p:txBody>
        </p:sp>
        <p:sp>
          <p:nvSpPr>
            <p:cNvPr id="117" name="Textfeld 116"/>
            <p:cNvSpPr txBox="1"/>
            <p:nvPr/>
          </p:nvSpPr>
          <p:spPr bwMode="ltGray">
            <a:xfrm>
              <a:off x="11219342" y="5525803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6,30</a:t>
              </a:r>
            </a:p>
          </p:txBody>
        </p:sp>
        <p:sp>
          <p:nvSpPr>
            <p:cNvPr id="118" name="Textfeld 117"/>
            <p:cNvSpPr txBox="1"/>
            <p:nvPr/>
          </p:nvSpPr>
          <p:spPr bwMode="ltGray">
            <a:xfrm>
              <a:off x="11219342" y="6172245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8,10</a:t>
              </a:r>
            </a:p>
          </p:txBody>
        </p:sp>
        <p:sp>
          <p:nvSpPr>
            <p:cNvPr id="119" name="Textfeld 118"/>
            <p:cNvSpPr txBox="1"/>
            <p:nvPr/>
          </p:nvSpPr>
          <p:spPr bwMode="ltGray">
            <a:xfrm>
              <a:off x="11226416" y="5197981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5,40</a:t>
              </a:r>
            </a:p>
          </p:txBody>
        </p:sp>
        <p:sp>
          <p:nvSpPr>
            <p:cNvPr id="120" name="Textfeld 119"/>
            <p:cNvSpPr txBox="1"/>
            <p:nvPr/>
          </p:nvSpPr>
          <p:spPr bwMode="ltGray">
            <a:xfrm>
              <a:off x="11219342" y="5851621"/>
              <a:ext cx="25808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80975" indent="-180975" defTabSz="457322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200" dirty="0">
                  <a:solidFill>
                    <a:srgbClr val="000000">
                      <a:alpha val="15000"/>
                    </a:srgbClr>
                  </a:solidFill>
                  <a:ea typeface="TeleGrotesk Next" pitchFamily="2" charset="0"/>
                </a:rPr>
                <a:t>7,20</a:t>
              </a:r>
            </a:p>
          </p:txBody>
        </p:sp>
      </p:grpSp>
      <p:sp>
        <p:nvSpPr>
          <p:cNvPr id="86" name="Textfeld 85"/>
          <p:cNvSpPr txBox="1"/>
          <p:nvPr/>
        </p:nvSpPr>
        <p:spPr bwMode="gray">
          <a:xfrm>
            <a:off x="324000" y="5365378"/>
            <a:ext cx="5964071" cy="1384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de-DE" sz="900" dirty="0">
                <a:solidFill>
                  <a:srgbClr val="4B4B4B"/>
                </a:solidFill>
              </a:rPr>
              <a:t>Quelle/Fußnotentextfeld zum Kopieren auf Ihre Folien; </a:t>
            </a:r>
            <a:r>
              <a:rPr lang="de-DE" sz="900" dirty="0" err="1">
                <a:solidFill>
                  <a:srgbClr val="4B4B4B"/>
                </a:solidFill>
              </a:rPr>
              <a:t>TeleGrotesk</a:t>
            </a:r>
            <a:r>
              <a:rPr lang="de-DE" sz="900" dirty="0">
                <a:solidFill>
                  <a:srgbClr val="4B4B4B"/>
                </a:solidFill>
              </a:rPr>
              <a:t> Next 9 </a:t>
            </a:r>
            <a:r>
              <a:rPr lang="de-DE" sz="900" dirty="0" err="1">
                <a:solidFill>
                  <a:srgbClr val="4B4B4B"/>
                </a:solidFill>
              </a:rPr>
              <a:t>pt</a:t>
            </a:r>
            <a:r>
              <a:rPr lang="de-DE" sz="900" dirty="0">
                <a:solidFill>
                  <a:srgbClr val="4B4B4B"/>
                </a:solidFill>
              </a:rPr>
              <a:t>, von unten aufbauend, maximal 3-zeilig</a:t>
            </a:r>
          </a:p>
        </p:txBody>
      </p:sp>
      <p:sp>
        <p:nvSpPr>
          <p:cNvPr id="687107" name="Rectang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 err="1">
                <a:cs typeface="TeleGrotesk Next Ultra" pitchFamily="2" charset="0"/>
              </a:rPr>
              <a:t>Copy</a:t>
            </a:r>
            <a:r>
              <a:rPr lang="de-DE" altLang="de-DE" dirty="0">
                <a:cs typeface="TeleGrotesk Next Ultra" pitchFamily="2" charset="0"/>
              </a:rPr>
              <a:t> &amp; Paste Elemente</a:t>
            </a:r>
            <a:br>
              <a:rPr lang="de-DE" altLang="de-DE" dirty="0">
                <a:cs typeface="TeleGrotesk Next Ultra" pitchFamily="2" charset="0"/>
              </a:rPr>
            </a:br>
            <a:r>
              <a:rPr lang="de-DE" altLang="de-DE" dirty="0">
                <a:latin typeface="TeleGrotesk Next" pitchFamily="2" charset="0"/>
                <a:cs typeface="TeleGrotesk Next Ultra" pitchFamily="2" charset="0"/>
                <a:sym typeface="TeleGrotesk Next" pitchFamily="2" charset="0"/>
              </a:rPr>
              <a:t>und Raster</a:t>
            </a:r>
          </a:p>
        </p:txBody>
      </p:sp>
      <p:sp>
        <p:nvSpPr>
          <p:cNvPr id="77" name="Foliennummernplatzhalter 7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smtClean="0">
                <a:solidFill>
                  <a:srgbClr val="4B4B4B"/>
                </a:solidFill>
              </a:rPr>
              <a:pPr/>
              <a:t>11</a:t>
            </a:fld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687109" name="AutoShape 5"/>
          <p:cNvSpPr>
            <a:spLocks noChangeArrowheads="1"/>
          </p:cNvSpPr>
          <p:nvPr/>
        </p:nvSpPr>
        <p:spPr bwMode="auto">
          <a:xfrm>
            <a:off x="3078000" y="4412623"/>
            <a:ext cx="1301170" cy="324000"/>
          </a:xfrm>
          <a:prstGeom prst="chevron">
            <a:avLst>
              <a:gd name="adj" fmla="val 50650"/>
            </a:avLst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z="1800" dirty="0">
              <a:solidFill>
                <a:srgbClr val="FFFFFF"/>
              </a:solidFill>
              <a:latin typeface="TeleGrotesk Next" pitchFamily="2" charset="0"/>
              <a:sym typeface="TeleGrotesk Next" pitchFamily="2" charset="0"/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3078000" y="4856826"/>
            <a:ext cx="2605178" cy="324000"/>
            <a:chOff x="3561922" y="5206592"/>
            <a:chExt cx="2920580" cy="324000"/>
          </a:xfrm>
        </p:grpSpPr>
        <p:sp>
          <p:nvSpPr>
            <p:cNvPr id="687110" name="AutoShape 6"/>
            <p:cNvSpPr>
              <a:spLocks noChangeArrowheads="1"/>
            </p:cNvSpPr>
            <p:nvPr/>
          </p:nvSpPr>
          <p:spPr bwMode="auto">
            <a:xfrm>
              <a:off x="3561922" y="5206592"/>
              <a:ext cx="1020028" cy="324000"/>
            </a:xfrm>
            <a:prstGeom prst="chevron">
              <a:avLst>
                <a:gd name="adj" fmla="val 38333"/>
              </a:avLst>
            </a:prstGeom>
            <a:solidFill>
              <a:srgbClr val="7C7C7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800" dirty="0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endParaRPr>
            </a:p>
          </p:txBody>
        </p:sp>
        <p:sp>
          <p:nvSpPr>
            <p:cNvPr id="687111" name="AutoShape 7"/>
            <p:cNvSpPr>
              <a:spLocks noChangeArrowheads="1"/>
            </p:cNvSpPr>
            <p:nvPr/>
          </p:nvSpPr>
          <p:spPr bwMode="auto">
            <a:xfrm>
              <a:off x="4512948" y="5206592"/>
              <a:ext cx="1020028" cy="324000"/>
            </a:xfrm>
            <a:prstGeom prst="chevron">
              <a:avLst>
                <a:gd name="adj" fmla="val 38333"/>
              </a:avLst>
            </a:prstGeom>
            <a:solidFill>
              <a:srgbClr val="AEAEA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800" dirty="0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endParaRPr>
            </a:p>
          </p:txBody>
        </p:sp>
        <p:sp>
          <p:nvSpPr>
            <p:cNvPr id="687112" name="AutoShape 8"/>
            <p:cNvSpPr>
              <a:spLocks noChangeArrowheads="1"/>
            </p:cNvSpPr>
            <p:nvPr/>
          </p:nvSpPr>
          <p:spPr bwMode="auto">
            <a:xfrm>
              <a:off x="5462474" y="5206592"/>
              <a:ext cx="1020028" cy="324000"/>
            </a:xfrm>
            <a:prstGeom prst="chevron">
              <a:avLst>
                <a:gd name="adj" fmla="val 38333"/>
              </a:avLst>
            </a:prstGeom>
            <a:solidFill>
              <a:srgbClr val="D0D0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800" dirty="0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endParaRPr>
            </a:p>
          </p:txBody>
        </p:sp>
      </p:grpSp>
      <p:sp>
        <p:nvSpPr>
          <p:cNvPr id="687108" name="AutoShape 4"/>
          <p:cNvSpPr>
            <a:spLocks noChangeArrowheads="1"/>
          </p:cNvSpPr>
          <p:nvPr/>
        </p:nvSpPr>
        <p:spPr bwMode="auto">
          <a:xfrm>
            <a:off x="3078000" y="3955569"/>
            <a:ext cx="1301170" cy="349702"/>
          </a:xfrm>
          <a:prstGeom prst="homePlate">
            <a:avLst>
              <a:gd name="adj" fmla="val 44937"/>
            </a:avLst>
          </a:prstGeom>
          <a:solidFill>
            <a:schemeClr val="tx2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square" lIns="108000" tIns="36000" rIns="36000" bIns="36000" anchor="ctr">
            <a:spAutoFit/>
          </a:bodyPr>
          <a:lstStyle/>
          <a:p>
            <a:pPr>
              <a:spcBef>
                <a:spcPct val="25000"/>
              </a:spcBef>
            </a:pPr>
            <a:r>
              <a:rPr lang="de-DE" altLang="de-DE" sz="1800" b="1" dirty="0">
                <a:solidFill>
                  <a:srgbClr val="FFFFFF"/>
                </a:solidFill>
                <a:cs typeface="TeleGrotesk Next" pitchFamily="2" charset="0"/>
                <a:sym typeface="Blackadder ITC" panose="04020505051007020D02" pitchFamily="82" charset="0"/>
              </a:rPr>
              <a:t>Text</a:t>
            </a:r>
          </a:p>
        </p:txBody>
      </p:sp>
      <p:sp>
        <p:nvSpPr>
          <p:cNvPr id="687114" name="AutoShape 10"/>
          <p:cNvSpPr>
            <a:spLocks noChangeArrowheads="1"/>
          </p:cNvSpPr>
          <p:nvPr/>
        </p:nvSpPr>
        <p:spPr bwMode="auto">
          <a:xfrm>
            <a:off x="4379170" y="3968420"/>
            <a:ext cx="340509" cy="324000"/>
          </a:xfrm>
          <a:prstGeom prst="diamond">
            <a:avLst/>
          </a:prstGeom>
          <a:solidFill>
            <a:srgbClr val="7C7C7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z="1800" dirty="0">
              <a:solidFill>
                <a:srgbClr val="FFFFFF"/>
              </a:solidFill>
              <a:latin typeface="TeleGrotesk Next" pitchFamily="2" charset="0"/>
              <a:sym typeface="TeleGrotesk Next" pitchFamily="2" charset="0"/>
            </a:endParaRPr>
          </a:p>
        </p:txBody>
      </p:sp>
      <p:sp>
        <p:nvSpPr>
          <p:cNvPr id="687123" name="Rectangle 19"/>
          <p:cNvSpPr>
            <a:spLocks noChangeArrowheads="1"/>
          </p:cNvSpPr>
          <p:nvPr/>
        </p:nvSpPr>
        <p:spPr bwMode="gray">
          <a:xfrm>
            <a:off x="5831363" y="2736000"/>
            <a:ext cx="1800000" cy="881570"/>
          </a:xfrm>
          <a:prstGeom prst="rect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108000" tIns="72000" rIns="72000" bIns="72000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spcBef>
                <a:spcPts val="0"/>
              </a:spcBef>
            </a:pPr>
            <a:r>
              <a:rPr lang="de-DE" altLang="de-DE" sz="1800" dirty="0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rPr>
              <a:t>INFOFLÄCHE</a:t>
            </a:r>
          </a:p>
          <a:p>
            <a:pPr>
              <a:spcBef>
                <a:spcPts val="0"/>
              </a:spcBef>
            </a:pPr>
            <a:r>
              <a:rPr lang="de-DE" altLang="de-DE" sz="1400" dirty="0" err="1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rPr>
              <a:t>Lorem</a:t>
            </a:r>
            <a:r>
              <a:rPr lang="de-DE" altLang="de-DE" sz="1400" dirty="0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rPr>
              <a:t> </a:t>
            </a:r>
            <a:r>
              <a:rPr lang="de-DE" altLang="de-DE" sz="1400" dirty="0" err="1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rPr>
              <a:t>ipsum</a:t>
            </a:r>
            <a:r>
              <a:rPr lang="de-DE" altLang="de-DE" sz="1400" dirty="0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rPr>
              <a:t> </a:t>
            </a:r>
            <a:r>
              <a:rPr lang="de-DE" altLang="de-DE" sz="1400" dirty="0" err="1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rPr>
              <a:t>dolor</a:t>
            </a:r>
            <a:r>
              <a:rPr lang="de-DE" altLang="de-DE" sz="1400" dirty="0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rPr>
              <a:t> </a:t>
            </a:r>
            <a:r>
              <a:rPr lang="de-DE" altLang="de-DE" sz="1400" dirty="0" err="1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rPr>
              <a:t>sit</a:t>
            </a:r>
            <a:r>
              <a:rPr lang="de-DE" altLang="de-DE" sz="1400" dirty="0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rPr>
              <a:t> am, </a:t>
            </a:r>
            <a:r>
              <a:rPr lang="de-DE" altLang="de-DE" sz="1400" dirty="0" err="1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rPr>
              <a:t>consectetuer</a:t>
            </a:r>
            <a:endParaRPr lang="de-DE" altLang="de-DE" sz="1400" dirty="0">
              <a:solidFill>
                <a:srgbClr val="FFFFFF"/>
              </a:solidFill>
              <a:latin typeface="TeleGrotesk Next" pitchFamily="2" charset="0"/>
              <a:sym typeface="TeleGrotesk Next" pitchFamily="2" charset="0"/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5831363" y="3708000"/>
            <a:ext cx="1800000" cy="88157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08000" tIns="72000" rIns="72000" bIns="72000" anchor="t">
            <a:spAutoFit/>
          </a:bodyPr>
          <a:lstStyle/>
          <a:p>
            <a:pPr>
              <a:buClr>
                <a:srgbClr val="E20074"/>
              </a:buClr>
              <a:buFont typeface="Wingdings" pitchFamily="2" charset="2"/>
              <a:buNone/>
              <a:defRPr/>
            </a:pPr>
            <a:r>
              <a:rPr lang="de-DE" sz="1800" cap="all" dirty="0">
                <a:solidFill>
                  <a:srgbClr val="E20074"/>
                </a:solidFill>
                <a:latin typeface="TeleGrotesk Next" pitchFamily="2" charset="0"/>
                <a:sym typeface="TeleGrotesk Next" pitchFamily="2" charset="0"/>
              </a:rPr>
              <a:t>Infofläche</a:t>
            </a:r>
          </a:p>
          <a:p>
            <a:r>
              <a:rPr lang="de-DE" altLang="de-DE" sz="1400" dirty="0" err="1">
                <a:solidFill>
                  <a:srgbClr val="4B4B4B"/>
                </a:solidFill>
              </a:rPr>
              <a:t>Lorem</a:t>
            </a:r>
            <a:r>
              <a:rPr lang="de-DE" altLang="de-DE" sz="1400" dirty="0">
                <a:solidFill>
                  <a:srgbClr val="4B4B4B"/>
                </a:solidFill>
              </a:rPr>
              <a:t> </a:t>
            </a:r>
            <a:r>
              <a:rPr lang="de-DE" altLang="de-DE" sz="1400" dirty="0" err="1">
                <a:solidFill>
                  <a:srgbClr val="4B4B4B"/>
                </a:solidFill>
              </a:rPr>
              <a:t>ipsum</a:t>
            </a:r>
            <a:r>
              <a:rPr lang="de-DE" altLang="de-DE" sz="1400" dirty="0">
                <a:solidFill>
                  <a:srgbClr val="4B4B4B"/>
                </a:solidFill>
              </a:rPr>
              <a:t> </a:t>
            </a:r>
            <a:r>
              <a:rPr lang="de-DE" altLang="de-DE" sz="1400" dirty="0" err="1">
                <a:solidFill>
                  <a:srgbClr val="4B4B4B"/>
                </a:solidFill>
              </a:rPr>
              <a:t>dolor</a:t>
            </a:r>
            <a:r>
              <a:rPr lang="de-DE" altLang="de-DE" sz="1400" dirty="0">
                <a:solidFill>
                  <a:srgbClr val="4B4B4B"/>
                </a:solidFill>
              </a:rPr>
              <a:t> </a:t>
            </a:r>
            <a:r>
              <a:rPr lang="de-DE" altLang="de-DE" sz="1400" dirty="0" err="1">
                <a:solidFill>
                  <a:srgbClr val="4B4B4B"/>
                </a:solidFill>
              </a:rPr>
              <a:t>sit</a:t>
            </a:r>
            <a:r>
              <a:rPr lang="de-DE" altLang="de-DE" sz="1400" dirty="0">
                <a:solidFill>
                  <a:srgbClr val="4B4B4B"/>
                </a:solidFill>
              </a:rPr>
              <a:t> am, </a:t>
            </a:r>
            <a:r>
              <a:rPr lang="de-DE" altLang="de-DE" sz="1400" dirty="0" err="1">
                <a:solidFill>
                  <a:srgbClr val="4B4B4B"/>
                </a:solidFill>
              </a:rPr>
              <a:t>consectetuer</a:t>
            </a:r>
            <a:endParaRPr lang="de-DE" altLang="de-DE" sz="1400" dirty="0">
              <a:solidFill>
                <a:srgbClr val="4B4B4B"/>
              </a:solidFill>
            </a:endParaRPr>
          </a:p>
        </p:txBody>
      </p:sp>
      <p:sp>
        <p:nvSpPr>
          <p:cNvPr id="30" name="AutoShape 8"/>
          <p:cNvSpPr>
            <a:spLocks noChangeArrowheads="1"/>
          </p:cNvSpPr>
          <p:nvPr/>
        </p:nvSpPr>
        <p:spPr bwMode="auto">
          <a:xfrm rot="5400000">
            <a:off x="4502839" y="3990411"/>
            <a:ext cx="1057154" cy="352385"/>
          </a:xfrm>
          <a:prstGeom prst="triangle">
            <a:avLst>
              <a:gd name="adj" fmla="val 50000"/>
            </a:avLst>
          </a:prstGeom>
          <a:noFill/>
          <a:ln w="1905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90000"/>
              </a:lnSpc>
            </a:pPr>
            <a:r>
              <a:rPr lang="de-DE" sz="1800" dirty="0">
                <a:solidFill>
                  <a:srgbClr val="E20074"/>
                </a:solidFill>
                <a:latin typeface="TeleGrotesk Next" pitchFamily="2" charset="0"/>
                <a:sym typeface="TeleGrotesk Next" pitchFamily="2" charset="0"/>
              </a:rPr>
              <a:t> </a:t>
            </a:r>
          </a:p>
        </p:txBody>
      </p:sp>
      <p:sp>
        <p:nvSpPr>
          <p:cNvPr id="31" name="AutoShape 8"/>
          <p:cNvSpPr>
            <a:spLocks noChangeArrowheads="1"/>
          </p:cNvSpPr>
          <p:nvPr/>
        </p:nvSpPr>
        <p:spPr bwMode="auto">
          <a:xfrm rot="5400000">
            <a:off x="4983230" y="3990413"/>
            <a:ext cx="1057154" cy="352385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1905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90000"/>
              </a:lnSpc>
            </a:pPr>
            <a:r>
              <a:rPr lang="de-DE" sz="1800" dirty="0">
                <a:solidFill>
                  <a:srgbClr val="FFFFFF"/>
                </a:solidFill>
                <a:latin typeface="TeleGrotesk Next" pitchFamily="2" charset="0"/>
                <a:sym typeface="TeleGrotesk Next" pitchFamily="2" charset="0"/>
              </a:rPr>
              <a:t> </a:t>
            </a:r>
          </a:p>
        </p:txBody>
      </p:sp>
      <p:sp>
        <p:nvSpPr>
          <p:cNvPr id="51" name="Rechteck 50"/>
          <p:cNvSpPr/>
          <p:nvPr/>
        </p:nvSpPr>
        <p:spPr bwMode="gray">
          <a:xfrm>
            <a:off x="5834401" y="4695985"/>
            <a:ext cx="2609850" cy="495108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 anchorCtr="0">
            <a:spAutoFit/>
          </a:bodyPr>
          <a:lstStyle/>
          <a:p>
            <a:pPr algn="ctr" defTabSz="457293" fontAlgn="base">
              <a:buClr>
                <a:srgbClr val="E20074"/>
              </a:buClr>
              <a:buSzPct val="75000"/>
            </a:pPr>
            <a:r>
              <a:rPr lang="de-DE" sz="1800" b="1" dirty="0">
                <a:solidFill>
                  <a:srgbClr val="E20074"/>
                </a:solidFill>
                <a:cs typeface="TeleGrotesk Next" pitchFamily="2" charset="0"/>
                <a:sym typeface="Blackadder ITC" panose="04020505051007020D02" pitchFamily="82" charset="0"/>
              </a:rPr>
              <a:t>Fazit in Box</a:t>
            </a:r>
          </a:p>
        </p:txBody>
      </p:sp>
      <p:cxnSp>
        <p:nvCxnSpPr>
          <p:cNvPr id="53" name="Gerade Verbindung mit Pfeil 52"/>
          <p:cNvCxnSpPr/>
          <p:nvPr/>
        </p:nvCxnSpPr>
        <p:spPr>
          <a:xfrm>
            <a:off x="3078000" y="3806252"/>
            <a:ext cx="1080000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mit Pfeil 53"/>
          <p:cNvCxnSpPr/>
          <p:nvPr/>
        </p:nvCxnSpPr>
        <p:spPr>
          <a:xfrm>
            <a:off x="3078000" y="3638550"/>
            <a:ext cx="1080000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triangl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Rechteck 64"/>
          <p:cNvSpPr/>
          <p:nvPr/>
        </p:nvSpPr>
        <p:spPr bwMode="gray">
          <a:xfrm>
            <a:off x="8589963" y="4695985"/>
            <a:ext cx="2609850" cy="495108"/>
          </a:xfrm>
          <a:prstGeom prst="rect">
            <a:avLst/>
          </a:prstGeom>
          <a:solidFill>
            <a:schemeClr val="tx2"/>
          </a:solidFill>
          <a:ln w="19050" cap="flat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 anchorCtr="0">
            <a:spAutoFit/>
          </a:bodyPr>
          <a:lstStyle/>
          <a:p>
            <a:pPr algn="ctr" defTabSz="457293" fontAlgn="base">
              <a:buClr>
                <a:srgbClr val="E20074"/>
              </a:buClr>
              <a:buSzPct val="75000"/>
            </a:pPr>
            <a:r>
              <a:rPr lang="de-DE" sz="1800" b="1" dirty="0">
                <a:solidFill>
                  <a:srgbClr val="FFFFFF"/>
                </a:solidFill>
                <a:cs typeface="TeleGrotesk Next" pitchFamily="2" charset="0"/>
                <a:sym typeface="Blackadder ITC" panose="04020505051007020D02" pitchFamily="82" charset="0"/>
              </a:rPr>
              <a:t>Fazit in Box</a:t>
            </a:r>
          </a:p>
        </p:txBody>
      </p:sp>
      <p:sp>
        <p:nvSpPr>
          <p:cNvPr id="71" name="Inhaltsplatzhalter 6"/>
          <p:cNvSpPr txBox="1">
            <a:spLocks/>
          </p:cNvSpPr>
          <p:nvPr/>
        </p:nvSpPr>
        <p:spPr bwMode="gray">
          <a:xfrm>
            <a:off x="3078000" y="1476000"/>
            <a:ext cx="2610000" cy="1332000"/>
          </a:xfrm>
          <a:prstGeom prst="rect">
            <a:avLst/>
          </a:prstGeom>
          <a:noFill/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rgbClr val="E20074"/>
              </a:buClr>
            </a:pPr>
            <a:r>
              <a:rPr lang="de-DE" b="1" dirty="0">
                <a:solidFill>
                  <a:srgbClr val="E20074"/>
                </a:solidFill>
                <a:latin typeface="+mn-lt"/>
                <a:sym typeface="Blackadder ITC" panose="04020505051007020D02" pitchFamily="82" charset="0"/>
              </a:rPr>
              <a:t>Ebene 1</a:t>
            </a:r>
          </a:p>
          <a:p>
            <a:pPr marL="0" lvl="1" indent="-219059">
              <a:lnSpc>
                <a:spcPct val="100000"/>
              </a:lnSpc>
            </a:pPr>
            <a:r>
              <a:rPr lang="de-DE" dirty="0"/>
              <a:t>Ebene 2</a:t>
            </a:r>
          </a:p>
          <a:p>
            <a:pPr marL="216000" lvl="2" indent="-216000">
              <a:lnSpc>
                <a:spcPct val="100000"/>
              </a:lnSpc>
              <a:buClr>
                <a:srgbClr val="4B4B4B"/>
              </a:buClr>
            </a:pPr>
            <a:r>
              <a:rPr lang="de-DE" dirty="0"/>
              <a:t>Ebene 3</a:t>
            </a:r>
          </a:p>
          <a:p>
            <a:pPr marL="432000" lvl="3">
              <a:lnSpc>
                <a:spcPct val="100000"/>
              </a:lnSpc>
              <a:buClr>
                <a:srgbClr val="4B4B4B"/>
              </a:buClr>
            </a:pPr>
            <a:r>
              <a:rPr lang="de-DE" dirty="0"/>
              <a:t>Ebene 4</a:t>
            </a:r>
          </a:p>
        </p:txBody>
      </p:sp>
      <p:sp>
        <p:nvSpPr>
          <p:cNvPr id="74" name="Inhaltsplatzhalter 6"/>
          <p:cNvSpPr txBox="1">
            <a:spLocks/>
          </p:cNvSpPr>
          <p:nvPr/>
        </p:nvSpPr>
        <p:spPr bwMode="gray">
          <a:xfrm>
            <a:off x="324000" y="3805200"/>
            <a:ext cx="2609700" cy="13580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0" tIns="90000" rIns="0" bIns="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de-DE" b="1" dirty="0">
                <a:latin typeface="+mn-lt"/>
                <a:sym typeface="Blackadder ITC" panose="04020505051007020D02" pitchFamily="82" charset="0"/>
              </a:rPr>
              <a:t>Ebene 1</a:t>
            </a:r>
          </a:p>
          <a:p>
            <a:pPr lvl="1">
              <a:lnSpc>
                <a:spcPct val="100000"/>
              </a:lnSpc>
            </a:pPr>
            <a:r>
              <a:rPr lang="de-DE" dirty="0"/>
              <a:t>Ebene 2</a:t>
            </a:r>
          </a:p>
          <a:p>
            <a:pPr marL="216000" lvl="2" indent="-216000">
              <a:lnSpc>
                <a:spcPct val="100000"/>
              </a:lnSpc>
              <a:buClr>
                <a:srgbClr val="4B4B4B"/>
              </a:buClr>
            </a:pPr>
            <a:r>
              <a:rPr lang="de-DE" dirty="0"/>
              <a:t>Ebene 3</a:t>
            </a:r>
          </a:p>
          <a:p>
            <a:pPr marL="432000" lvl="3">
              <a:lnSpc>
                <a:spcPct val="100000"/>
              </a:lnSpc>
              <a:buClr>
                <a:srgbClr val="4B4B4B"/>
              </a:buClr>
            </a:pPr>
            <a:r>
              <a:rPr lang="de-DE" dirty="0"/>
              <a:t>Ebene 4</a:t>
            </a:r>
          </a:p>
        </p:txBody>
      </p:sp>
      <p:sp>
        <p:nvSpPr>
          <p:cNvPr id="78" name="Inhaltsplatzhalter 6"/>
          <p:cNvSpPr txBox="1">
            <a:spLocks/>
          </p:cNvSpPr>
          <p:nvPr/>
        </p:nvSpPr>
        <p:spPr bwMode="gray">
          <a:xfrm>
            <a:off x="323850" y="1800000"/>
            <a:ext cx="2610150" cy="14400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de-DE" b="1" dirty="0">
                <a:solidFill>
                  <a:srgbClr val="4B4B4B"/>
                </a:solidFill>
                <a:latin typeface="+mn-lt"/>
                <a:sym typeface="Blackadder ITC" panose="04020505051007020D02" pitchFamily="82" charset="0"/>
              </a:rPr>
              <a:t>Ebene 1</a:t>
            </a:r>
          </a:p>
          <a:p>
            <a:pPr lvl="1">
              <a:lnSpc>
                <a:spcPct val="100000"/>
              </a:lnSpc>
            </a:pPr>
            <a:r>
              <a:rPr lang="de-DE" dirty="0">
                <a:solidFill>
                  <a:srgbClr val="4B4B4B"/>
                </a:solidFill>
              </a:rPr>
              <a:t>Ebene 2</a:t>
            </a:r>
          </a:p>
          <a:p>
            <a:pPr lvl="2">
              <a:lnSpc>
                <a:spcPct val="100000"/>
              </a:lnSpc>
              <a:buClr>
                <a:srgbClr val="4B4B4B"/>
              </a:buClr>
            </a:pPr>
            <a:r>
              <a:rPr lang="de-DE" dirty="0">
                <a:solidFill>
                  <a:srgbClr val="4B4B4B"/>
                </a:solidFill>
              </a:rPr>
              <a:t>Ebene 3</a:t>
            </a:r>
          </a:p>
          <a:p>
            <a:pPr lvl="3">
              <a:lnSpc>
                <a:spcPct val="100000"/>
              </a:lnSpc>
              <a:buClr>
                <a:srgbClr val="4B4B4B"/>
              </a:buClr>
            </a:pPr>
            <a:r>
              <a:rPr lang="de-DE" dirty="0">
                <a:solidFill>
                  <a:srgbClr val="4B4B4B"/>
                </a:solidFill>
              </a:rPr>
              <a:t>Ebene 4</a:t>
            </a:r>
          </a:p>
        </p:txBody>
      </p:sp>
      <p:sp>
        <p:nvSpPr>
          <p:cNvPr id="79" name="Rectangle 5"/>
          <p:cNvSpPr>
            <a:spLocks noChangeArrowheads="1"/>
          </p:cNvSpPr>
          <p:nvPr/>
        </p:nvSpPr>
        <p:spPr bwMode="auto">
          <a:xfrm>
            <a:off x="324000" y="1476000"/>
            <a:ext cx="2610078" cy="349702"/>
          </a:xfrm>
          <a:prstGeom prst="rect">
            <a:avLst/>
          </a:prstGeom>
          <a:solidFill>
            <a:schemeClr val="tx2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square" lIns="108000" tIns="36000" rIns="36000" bIns="36000" anchor="ctr">
            <a:spAutoFit/>
          </a:bodyPr>
          <a:lstStyle/>
          <a:p>
            <a:pPr>
              <a:spcBef>
                <a:spcPct val="25000"/>
              </a:spcBef>
            </a:pPr>
            <a:r>
              <a:rPr lang="de-DE" sz="1800" b="1" dirty="0">
                <a:solidFill>
                  <a:srgbClr val="FFFFFF"/>
                </a:solidFill>
                <a:cs typeface="TeleGrotesk Next" pitchFamily="2" charset="0"/>
              </a:rPr>
              <a:t>Titel in Box</a:t>
            </a:r>
          </a:p>
        </p:txBody>
      </p:sp>
      <p:graphicFrame>
        <p:nvGraphicFramePr>
          <p:cNvPr id="75" name="Tabelle 74"/>
          <p:cNvGraphicFramePr>
            <a:graphicFrameLocks noGrp="1"/>
          </p:cNvGraphicFramePr>
          <p:nvPr/>
        </p:nvGraphicFramePr>
        <p:xfrm>
          <a:off x="323850" y="3240000"/>
          <a:ext cx="2610078" cy="5385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00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537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de-DE" b="1" dirty="0">
                          <a:solidFill>
                            <a:schemeClr val="tx2"/>
                          </a:solidFill>
                          <a:latin typeface="+mn-lt"/>
                        </a:rPr>
                        <a:t>Titel mit Linie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de-DE" b="0" dirty="0">
                          <a:solidFill>
                            <a:schemeClr val="tx2"/>
                          </a:solidFill>
                          <a:latin typeface="TeleGrotesk Next" pitchFamily="2" charset="0"/>
                          <a:sym typeface="TeleGrotesk Next" pitchFamily="2" charset="0"/>
                        </a:rPr>
                        <a:t>(Einheit)</a:t>
                      </a:r>
                    </a:p>
                  </a:txBody>
                  <a:tcPr marL="0" marR="0" marT="0" marB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3" name="Inhaltsplatzhalter 6"/>
          <p:cNvSpPr txBox="1">
            <a:spLocks/>
          </p:cNvSpPr>
          <p:nvPr/>
        </p:nvSpPr>
        <p:spPr bwMode="gray">
          <a:xfrm>
            <a:off x="3078000" y="2884576"/>
            <a:ext cx="1601168" cy="64888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  <a:spAutoFit/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lvl="2" indent="-216000">
              <a:lnSpc>
                <a:spcPct val="100000"/>
              </a:lnSpc>
              <a:buClr>
                <a:srgbClr val="4B4B4B"/>
              </a:buClr>
            </a:pPr>
            <a:r>
              <a:rPr lang="de-DE" dirty="0"/>
              <a:t>Aufzählung in Textfeld</a:t>
            </a:r>
          </a:p>
        </p:txBody>
      </p:sp>
      <p:sp>
        <p:nvSpPr>
          <p:cNvPr id="89" name="Rectangle 21"/>
          <p:cNvSpPr>
            <a:spLocks noChangeAspect="1" noChangeArrowheads="1"/>
          </p:cNvSpPr>
          <p:nvPr/>
        </p:nvSpPr>
        <p:spPr bwMode="blackWhite">
          <a:xfrm rot="21180000">
            <a:off x="7806950" y="2783348"/>
            <a:ext cx="1620000" cy="1620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lvl="0" algn="ctr">
              <a:spcBef>
                <a:spcPts val="0"/>
              </a:spcBef>
            </a:pPr>
            <a:r>
              <a:rPr lang="de-DE" altLang="de-DE" sz="1600" cap="all" dirty="0">
                <a:solidFill>
                  <a:srgbClr val="000000"/>
                </a:solidFill>
                <a:latin typeface="TeleGrotesk Next Ultra" pitchFamily="2" charset="0"/>
                <a:sym typeface="TeleGrotesk Next Ultra" pitchFamily="2" charset="0"/>
              </a:rPr>
              <a:t>Anpassbar</a:t>
            </a:r>
            <a:br>
              <a:rPr lang="de-DE" altLang="de-DE" sz="1600" cap="all" dirty="0">
                <a:solidFill>
                  <a:srgbClr val="000000"/>
                </a:solidFill>
                <a:latin typeface="TeleGrotesk Next Ultra" pitchFamily="2" charset="0"/>
                <a:sym typeface="TeleGrotesk Next Ultra" pitchFamily="2" charset="0"/>
              </a:rPr>
            </a:br>
            <a:r>
              <a:rPr lang="de-DE" altLang="de-DE" sz="1600" cap="all" dirty="0">
                <a:solidFill>
                  <a:srgbClr val="000000"/>
                </a:solidFill>
                <a:latin typeface="TeleGrotesk Next Ultra" pitchFamily="2" charset="0"/>
                <a:sym typeface="TeleGrotesk Next Ultra" pitchFamily="2" charset="0"/>
              </a:rPr>
              <a:t>in</a:t>
            </a:r>
          </a:p>
        </p:txBody>
      </p:sp>
      <p:sp>
        <p:nvSpPr>
          <p:cNvPr id="90" name="Rectangle 21"/>
          <p:cNvSpPr>
            <a:spLocks noChangeAspect="1" noChangeArrowheads="1"/>
          </p:cNvSpPr>
          <p:nvPr/>
        </p:nvSpPr>
        <p:spPr bwMode="blackWhite">
          <a:xfrm rot="21180000">
            <a:off x="9564783" y="2786500"/>
            <a:ext cx="1620000" cy="1620000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spcBef>
                <a:spcPts val="0"/>
              </a:spcBef>
            </a:pPr>
            <a:r>
              <a:rPr lang="de-DE" altLang="de-DE" sz="6600" cap="all" dirty="0">
                <a:solidFill>
                  <a:srgbClr val="000000"/>
                </a:solidFill>
                <a:latin typeface="TeleGrotesk Next Ultra" pitchFamily="2" charset="0"/>
                <a:sym typeface="TeleGrotesk Next Ultra" pitchFamily="2" charset="0"/>
              </a:rPr>
              <a:t>6</a:t>
            </a:r>
            <a:br>
              <a:rPr lang="de-DE" altLang="de-DE" sz="6600" cap="all" dirty="0">
                <a:solidFill>
                  <a:srgbClr val="000000"/>
                </a:solidFill>
                <a:latin typeface="TeleGrotesk Next Ultra" pitchFamily="2" charset="0"/>
                <a:sym typeface="TeleGrotesk Next Ultra" pitchFamily="2" charset="0"/>
              </a:rPr>
            </a:br>
            <a:r>
              <a:rPr lang="de-DE" altLang="de-DE" sz="1200" cap="all" dirty="0">
                <a:solidFill>
                  <a:srgbClr val="000000"/>
                </a:solidFill>
                <a:latin typeface="TeleGrotesk Next Ultra" pitchFamily="2" charset="0"/>
                <a:sym typeface="TeleGrotesk Next Ultra" pitchFamily="2" charset="0"/>
              </a:rPr>
              <a:t>Sekundär-Farben</a:t>
            </a:r>
          </a:p>
        </p:txBody>
      </p:sp>
      <p:sp>
        <p:nvSpPr>
          <p:cNvPr id="92" name="Rectangle 21"/>
          <p:cNvSpPr>
            <a:spLocks noChangeAspect="1" noChangeArrowheads="1"/>
          </p:cNvSpPr>
          <p:nvPr/>
        </p:nvSpPr>
        <p:spPr bwMode="gray">
          <a:xfrm rot="21180000">
            <a:off x="5834657" y="1484387"/>
            <a:ext cx="1080000" cy="10800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spcBef>
                <a:spcPts val="0"/>
              </a:spcBef>
            </a:pPr>
            <a:r>
              <a:rPr lang="de-DE" altLang="de-DE" sz="1800" cap="all" dirty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rPr>
              <a:t>Runde</a:t>
            </a:r>
          </a:p>
        </p:txBody>
      </p:sp>
      <p:sp>
        <p:nvSpPr>
          <p:cNvPr id="93" name="Rectangle 21"/>
          <p:cNvSpPr>
            <a:spLocks noChangeAspect="1" noChangeArrowheads="1"/>
          </p:cNvSpPr>
          <p:nvPr/>
        </p:nvSpPr>
        <p:spPr bwMode="blackWhite">
          <a:xfrm rot="21180000">
            <a:off x="7258635" y="1484387"/>
            <a:ext cx="1080000" cy="10800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spcBef>
                <a:spcPts val="0"/>
              </a:spcBef>
            </a:pPr>
            <a:r>
              <a:rPr lang="de-DE" altLang="de-DE" sz="1600" cap="all" dirty="0">
                <a:solidFill>
                  <a:srgbClr val="000000"/>
                </a:solidFill>
                <a:latin typeface="TeleGrotesk Next Ultra" pitchFamily="2" charset="0"/>
                <a:sym typeface="TeleGrotesk Next Ultra" pitchFamily="2" charset="0"/>
              </a:rPr>
              <a:t>Störer</a:t>
            </a:r>
            <a:endParaRPr lang="de-DE" altLang="de-DE" sz="1400" cap="all" dirty="0">
              <a:solidFill>
                <a:srgbClr val="000000"/>
              </a:solidFill>
              <a:latin typeface="TeleGrotesk Next Ultra" pitchFamily="2" charset="0"/>
              <a:sym typeface="TeleGrotesk Next Ultra" pitchFamily="2" charset="0"/>
            </a:endParaRPr>
          </a:p>
        </p:txBody>
      </p:sp>
      <p:sp>
        <p:nvSpPr>
          <p:cNvPr id="94" name="Rectangle 21"/>
          <p:cNvSpPr>
            <a:spLocks noChangeAspect="1" noChangeArrowheads="1"/>
          </p:cNvSpPr>
          <p:nvPr/>
        </p:nvSpPr>
        <p:spPr bwMode="blackWhite">
          <a:xfrm rot="21180000">
            <a:off x="8682613" y="1484387"/>
            <a:ext cx="1080000" cy="10800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spcBef>
                <a:spcPts val="0"/>
              </a:spcBef>
            </a:pPr>
            <a:r>
              <a:rPr lang="de-DE" altLang="de-DE" sz="2400" cap="all" dirty="0">
                <a:solidFill>
                  <a:srgbClr val="000000"/>
                </a:solidFill>
                <a:latin typeface="TeleGrotesk Next Ultra" pitchFamily="2" charset="0"/>
                <a:sym typeface="TeleGrotesk Next Ultra" pitchFamily="2" charset="0"/>
              </a:rPr>
              <a:t>JETZT</a:t>
            </a:r>
          </a:p>
          <a:p>
            <a:pPr algn="ctr">
              <a:spcBef>
                <a:spcPts val="0"/>
              </a:spcBef>
            </a:pPr>
            <a:r>
              <a:rPr lang="de-DE" altLang="de-DE" sz="1100" cap="all" dirty="0">
                <a:solidFill>
                  <a:srgbClr val="000000"/>
                </a:solidFill>
                <a:latin typeface="TeleGrotesk Next Ultra" pitchFamily="2" charset="0"/>
                <a:sym typeface="TeleGrotesk Next Ultra" pitchFamily="2" charset="0"/>
              </a:rPr>
              <a:t>VERFÜGBAR</a:t>
            </a:r>
          </a:p>
        </p:txBody>
      </p:sp>
      <p:sp>
        <p:nvSpPr>
          <p:cNvPr id="95" name="Rectangle 21"/>
          <p:cNvSpPr>
            <a:spLocks noChangeAspect="1" noChangeArrowheads="1"/>
          </p:cNvSpPr>
          <p:nvPr/>
        </p:nvSpPr>
        <p:spPr bwMode="blackWhite">
          <a:xfrm rot="21180000">
            <a:off x="10106591" y="1484387"/>
            <a:ext cx="1080000" cy="1080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spcBef>
                <a:spcPts val="0"/>
              </a:spcBef>
            </a:pPr>
            <a:r>
              <a:rPr lang="de-DE" altLang="de-DE" sz="1400" cap="all" dirty="0">
                <a:solidFill>
                  <a:srgbClr val="000000"/>
                </a:solidFill>
                <a:latin typeface="TeleGrotesk Next Ultra" pitchFamily="2" charset="0"/>
                <a:sym typeface="TeleGrotesk Next Ultra" pitchFamily="2" charset="0"/>
              </a:rPr>
              <a:t>EINFACH!</a:t>
            </a:r>
            <a:endParaRPr lang="de-DE" altLang="de-DE" sz="1050" cap="all" dirty="0">
              <a:solidFill>
                <a:srgbClr val="000000"/>
              </a:solidFill>
              <a:latin typeface="TeleGrotesk Next Ultra" pitchFamily="2" charset="0"/>
              <a:sym typeface="TeleGrotesk Next Ultra" pitchFamily="2" charset="0"/>
            </a:endParaRPr>
          </a:p>
        </p:txBody>
      </p:sp>
      <p:sp>
        <p:nvSpPr>
          <p:cNvPr id="76" name="Textfeld 75"/>
          <p:cNvSpPr txBox="1"/>
          <p:nvPr/>
        </p:nvSpPr>
        <p:spPr>
          <a:xfrm>
            <a:off x="1497924" y="1897538"/>
            <a:ext cx="1254640" cy="339305"/>
          </a:xfrm>
          <a:prstGeom prst="wedgeRectCallout">
            <a:avLst>
              <a:gd name="adj1" fmla="val -36330"/>
              <a:gd name="adj2" fmla="val -9003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</a:pPr>
            <a:r>
              <a:rPr lang="de-DE" sz="1400" dirty="0">
                <a:solidFill>
                  <a:srgbClr val="000000"/>
                </a:solidFill>
                <a:ea typeface="TeleGrotesk Next" pitchFamily="2" charset="0"/>
              </a:rPr>
              <a:t>Designoption 1</a:t>
            </a:r>
          </a:p>
        </p:txBody>
      </p:sp>
      <p:sp>
        <p:nvSpPr>
          <p:cNvPr id="81" name="Textfeld 80"/>
          <p:cNvSpPr txBox="1"/>
          <p:nvPr/>
        </p:nvSpPr>
        <p:spPr>
          <a:xfrm>
            <a:off x="4283633" y="1897538"/>
            <a:ext cx="1258052" cy="339305"/>
          </a:xfrm>
          <a:prstGeom prst="wedgeRectCallout">
            <a:avLst>
              <a:gd name="adj1" fmla="val -36330"/>
              <a:gd name="adj2" fmla="val -9003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</a:pPr>
            <a:r>
              <a:rPr lang="de-DE" sz="1400" dirty="0">
                <a:solidFill>
                  <a:srgbClr val="000000"/>
                </a:solidFill>
                <a:ea typeface="TeleGrotesk Next" pitchFamily="2" charset="0"/>
              </a:rPr>
              <a:t>Designoption 2</a:t>
            </a:r>
          </a:p>
        </p:txBody>
      </p:sp>
      <p:sp>
        <p:nvSpPr>
          <p:cNvPr id="131" name="Textfeld 130"/>
          <p:cNvSpPr txBox="1"/>
          <p:nvPr/>
        </p:nvSpPr>
        <p:spPr>
          <a:xfrm>
            <a:off x="1464594" y="3903492"/>
            <a:ext cx="1264875" cy="339305"/>
          </a:xfrm>
          <a:prstGeom prst="wedgeRectCallout">
            <a:avLst>
              <a:gd name="adj1" fmla="val -36330"/>
              <a:gd name="adj2" fmla="val -9003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</a:pPr>
            <a:r>
              <a:rPr lang="de-DE" sz="1400" dirty="0">
                <a:solidFill>
                  <a:srgbClr val="000000"/>
                </a:solidFill>
                <a:ea typeface="TeleGrotesk Next" pitchFamily="2" charset="0"/>
              </a:rPr>
              <a:t>Designoption 3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51C4194-46EE-4312-868B-9EB0B51C0D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3.10.202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B79BC2-FE05-43F7-A143-0A4962FFCD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- IFS GmbH - BU PFV Daily - intern -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45486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21"/>
          </p:nvPr>
        </p:nvSpPr>
        <p:spPr>
          <a:xfrm>
            <a:off x="-925" y="0"/>
            <a:ext cx="11234075" cy="648017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720000" y="1869711"/>
            <a:ext cx="6889490" cy="857250"/>
          </a:xfrm>
        </p:spPr>
        <p:txBody>
          <a:bodyPr/>
          <a:lstStyle/>
          <a:p>
            <a:r>
              <a:rPr lang="de-DE" dirty="0"/>
              <a:t>Modelltraining einer Künstlichen Intelligenz</a:t>
            </a:r>
            <a:br>
              <a:rPr lang="de-DE" sz="2000" dirty="0"/>
            </a:br>
            <a:r>
              <a:rPr lang="de-DE" sz="2000" dirty="0"/>
              <a:t>(Objekterkennung)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3.10.2022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- IFS GmbH - BU PFV Daily - intern -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4C2C6-9CD0-43A4-AEF8-0F30BF8483B1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Teil 3 zum Thema „Künstliche Intelligenz)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hema des Tages:</a:t>
            </a:r>
          </a:p>
        </p:txBody>
      </p:sp>
      <p:sp>
        <p:nvSpPr>
          <p:cNvPr id="13" name="Rechteck 12"/>
          <p:cNvSpPr/>
          <p:nvPr/>
        </p:nvSpPr>
        <p:spPr>
          <a:xfrm>
            <a:off x="9216439" y="5189199"/>
            <a:ext cx="1744580" cy="1139286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de-DE"/>
            </a:defPPr>
            <a:lvl1pPr marL="0" algn="l" defTabSz="864108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54" algn="l" defTabSz="864108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108" algn="l" defTabSz="864108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162" algn="l" defTabSz="864108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216" algn="l" defTabSz="864108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270" algn="l" defTabSz="864108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324" algn="l" defTabSz="864108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378" algn="l" defTabSz="864108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432" algn="l" defTabSz="864108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äsentatoren:</a:t>
            </a:r>
          </a:p>
          <a:p>
            <a:endParaRPr lang="de-DE" dirty="0"/>
          </a:p>
          <a:p>
            <a:pPr marL="717804" lvl="1" indent="-285750">
              <a:buFont typeface="Wingdings" panose="05000000000000000000" pitchFamily="2" charset="2"/>
              <a:buChar char="ü"/>
            </a:pPr>
            <a:r>
              <a:rPr lang="de-DE" dirty="0"/>
              <a:t>Eric </a:t>
            </a:r>
            <a:r>
              <a:rPr lang="de-DE" dirty="0" err="1"/>
              <a:t>Dirla</a:t>
            </a:r>
            <a:r>
              <a:rPr lang="de-DE" dirty="0"/>
              <a:t> 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21384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6CAFD-593F-4B79-945F-CC50C6DE98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3.10.2022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6153B39-C43D-48C6-9764-7B47303F38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DFE78D8-00AE-40FB-8D4F-2724593008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4C2C6-9CD0-43A4-AEF8-0F30BF8483B1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1EC481AA-9B92-486F-8158-615AF9416F2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sz="2800" dirty="0"/>
              <a:t>07.06.2022</a:t>
            </a:r>
          </a:p>
          <a:p>
            <a:endParaRPr lang="de-DE" sz="2800" dirty="0"/>
          </a:p>
          <a:p>
            <a:endParaRPr lang="de-DE" sz="2800" dirty="0"/>
          </a:p>
          <a:p>
            <a:endParaRPr lang="de-DE" sz="2800" dirty="0"/>
          </a:p>
          <a:p>
            <a:endParaRPr lang="de-DE" sz="2800" dirty="0"/>
          </a:p>
          <a:p>
            <a:r>
              <a:rPr lang="de-DE" sz="2800" dirty="0"/>
              <a:t>20.07.202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9C451C15-8276-42A5-BC7A-2AE9CBA8AE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ma künstliche Intelligenz</a:t>
            </a:r>
          </a:p>
        </p:txBody>
      </p:sp>
      <p:pic>
        <p:nvPicPr>
          <p:cNvPr id="3076" name="Picture 4" descr="Steckdose Powerpoint-Logo Symbol - Kostenloses Bild auf Pixabay">
            <a:hlinkClick r:id="rId2"/>
            <a:extLst>
              <a:ext uri="{FF2B5EF4-FFF2-40B4-BE49-F238E27FC236}">
                <a16:creationId xmlns:a16="http://schemas.microsoft.com/office/drawing/2014/main" id="{3A8DBFA7-2988-4E24-905B-1081F52E44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3980" y="627574"/>
            <a:ext cx="3950078" cy="2221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Steckdose Powerpoint-Logo Symbol - Kostenloses Bild auf Pixabay">
            <a:hlinkClick r:id="rId4"/>
            <a:extLst>
              <a:ext uri="{FF2B5EF4-FFF2-40B4-BE49-F238E27FC236}">
                <a16:creationId xmlns:a16="http://schemas.microsoft.com/office/drawing/2014/main" id="{80332EC3-91A5-4C78-ABA5-FCA0C2B705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3980" y="3508355"/>
            <a:ext cx="3950078" cy="2221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0C255A0D-FFEE-4181-96D1-949D56BBCF8A}"/>
              </a:ext>
            </a:extLst>
          </p:cNvPr>
          <p:cNvSpPr txBox="1"/>
          <p:nvPr/>
        </p:nvSpPr>
        <p:spPr>
          <a:xfrm>
            <a:off x="5531915" y="1410875"/>
            <a:ext cx="5521235" cy="609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de-DE" sz="900" u="sng" dirty="0">
                <a:hlinkClick r:id="rId2"/>
              </a:rPr>
              <a:t>https://telekom.sharepoint.de/sites/PFV/Freigegebene%20Dokumente/Forms/AllItems.aspx?id=%2Fsites%2FPFV%2FFreigegebene%20Dokumente%2F06%5Fberichtswesen%2F01%5FBU%5Fweekly%5Fdaily%2FArchiv%2F2022%2F20220607%5FPFV%5FDaily%2Emkv&amp;viewid=6183ebcb%2D23a1%2D48e3%2D8eb8%2D540188d484e1&amp;parent=%2Fsites%2FPFV%2FFreigegebene%20Dokumente%2F06%5Fberichtswesen%2F01%5FBU%5Fweekly%5Fdaily%2FArchiv%2F2022</a:t>
            </a:r>
            <a:endParaRPr lang="de-DE" sz="900" dirty="0"/>
          </a:p>
          <a:p>
            <a:pPr algn="l">
              <a:spcBef>
                <a:spcPts val="300"/>
              </a:spcBef>
            </a:pPr>
            <a:endParaRPr lang="de-DE" sz="900" dirty="0" err="1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C3C90F5A-FE1A-4C99-994A-D90981867427}"/>
              </a:ext>
            </a:extLst>
          </p:cNvPr>
          <p:cNvSpPr txBox="1"/>
          <p:nvPr/>
        </p:nvSpPr>
        <p:spPr>
          <a:xfrm>
            <a:off x="5531915" y="4272277"/>
            <a:ext cx="5521235" cy="609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de-DE" sz="900" u="sng" dirty="0">
                <a:hlinkClick r:id="rId4"/>
              </a:rPr>
              <a:t>https://telekom.sharepoint.de/sites/PFV/Freigegebene%20Dokumente/Forms/AllItems.aspx?id=%2Fsites%2FPFV%2FFreigegebene%20Dokumente%2F06%5Fberichtswesen%2F01%5FBU%5Fweekly%5Fdaily%2FArchiv%2F2022%2F20220720%5FPFV%5FDaily%2Emkv&amp;viewid=6183ebcb%2D23a1%2D48e3%2D8eb8%2D540188d484e1&amp;parent=%2Fsites%2FPFV%2FFreigegebene%20Dokumente%2F06%5Fberichtswesen%2F01%5FBU%5Fweekly%5Fdaily%2FArchiv%2F2022</a:t>
            </a:r>
            <a:endParaRPr lang="de-DE" sz="900" dirty="0"/>
          </a:p>
          <a:p>
            <a:pPr algn="l">
              <a:spcBef>
                <a:spcPts val="300"/>
              </a:spcBef>
            </a:pPr>
            <a:endParaRPr lang="de-DE" sz="200" dirty="0" err="1"/>
          </a:p>
        </p:txBody>
      </p:sp>
    </p:spTree>
    <p:extLst>
      <p:ext uri="{BB962C8B-B14F-4D97-AF65-F5344CB8AC3E}">
        <p14:creationId xmlns:p14="http://schemas.microsoft.com/office/powerpoint/2010/main" val="9221536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3.10.2022</a:t>
            </a:r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13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4C2C6-9CD0-43A4-AEF8-0F30BF8483B1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AutoNum type="arabicPeriod"/>
            </a:pPr>
            <a:r>
              <a:rPr lang="de-DE" sz="2000" dirty="0"/>
              <a:t>Algorithmus aussuchen</a:t>
            </a:r>
          </a:p>
          <a:p>
            <a:endParaRPr lang="de-DE" sz="2000" dirty="0"/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de-DE" sz="2000" dirty="0">
                <a:sym typeface="Wingdings" panose="05000000000000000000" pitchFamily="2" charset="2"/>
              </a:rPr>
              <a:t>YOLOv3 (</a:t>
            </a:r>
            <a:r>
              <a:rPr lang="de-DE" sz="2000" dirty="0" err="1">
                <a:sym typeface="Wingdings" panose="05000000000000000000" pitchFamily="2" charset="2"/>
              </a:rPr>
              <a:t>You</a:t>
            </a:r>
            <a:r>
              <a:rPr lang="de-DE" sz="2000" dirty="0">
                <a:sym typeface="Wingdings" panose="05000000000000000000" pitchFamily="2" charset="2"/>
              </a:rPr>
              <a:t> </a:t>
            </a:r>
            <a:r>
              <a:rPr lang="de-DE" sz="2000" dirty="0" err="1">
                <a:sym typeface="Wingdings" panose="05000000000000000000" pitchFamily="2" charset="2"/>
              </a:rPr>
              <a:t>only</a:t>
            </a:r>
            <a:r>
              <a:rPr lang="de-DE" sz="2000" dirty="0">
                <a:sym typeface="Wingdings" panose="05000000000000000000" pitchFamily="2" charset="2"/>
              </a:rPr>
              <a:t> </a:t>
            </a:r>
            <a:r>
              <a:rPr lang="de-DE" sz="2000" dirty="0" err="1">
                <a:sym typeface="Wingdings" panose="05000000000000000000" pitchFamily="2" charset="2"/>
              </a:rPr>
              <a:t>look</a:t>
            </a:r>
            <a:r>
              <a:rPr lang="de-DE" sz="2000" dirty="0">
                <a:sym typeface="Wingdings" panose="05000000000000000000" pitchFamily="2" charset="2"/>
              </a:rPr>
              <a:t> </a:t>
            </a:r>
            <a:r>
              <a:rPr lang="de-DE" sz="2000" dirty="0" err="1">
                <a:sym typeface="Wingdings" panose="05000000000000000000" pitchFamily="2" charset="2"/>
              </a:rPr>
              <a:t>once</a:t>
            </a:r>
            <a:r>
              <a:rPr lang="de-DE" sz="2000" dirty="0">
                <a:sym typeface="Wingdings" panose="05000000000000000000" pitchFamily="2" charset="2"/>
              </a:rPr>
              <a:t>)</a:t>
            </a:r>
          </a:p>
          <a:p>
            <a:endParaRPr lang="de-DE" sz="2000" dirty="0"/>
          </a:p>
          <a:p>
            <a:r>
              <a:rPr lang="de-DE" sz="2000" dirty="0"/>
              <a:t>- Neurales Netzwerk, unterteilt das Bild in</a:t>
            </a:r>
            <a:br>
              <a:rPr lang="de-DE" sz="2000" dirty="0"/>
            </a:br>
            <a:r>
              <a:rPr lang="de-DE" sz="2000" dirty="0"/>
              <a:t>  Gebiete</a:t>
            </a:r>
            <a:br>
              <a:rPr lang="de-DE" sz="2000" dirty="0"/>
            </a:br>
            <a:r>
              <a:rPr lang="de-DE" sz="2000" dirty="0"/>
              <a:t>- Modell wird auf die Gebiete einzeln angewendet</a:t>
            </a:r>
            <a:br>
              <a:rPr lang="de-DE" sz="2000" dirty="0"/>
            </a:br>
            <a:br>
              <a:rPr lang="de-DE" sz="2000" dirty="0"/>
            </a:br>
            <a:br>
              <a:rPr lang="de-DE" sz="2000" dirty="0"/>
            </a:br>
            <a:r>
              <a:rPr lang="de-DE" sz="2000" dirty="0"/>
              <a:t>= schnell &amp; effizient</a:t>
            </a:r>
          </a:p>
          <a:p>
            <a:endParaRPr lang="de-DE" sz="200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training einer KI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FF03670A-3D45-410B-8A31-B1D74FD4E7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9521" y="250581"/>
            <a:ext cx="6125919" cy="381596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277111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E28D2E17-AABE-404B-9427-FD7C85768C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772" y="1973518"/>
            <a:ext cx="9422949" cy="338225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DCC7046-BF57-4422-91C1-018D34FB716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" r="2569"/>
          <a:stretch/>
        </p:blipFill>
        <p:spPr>
          <a:xfrm>
            <a:off x="9718901" y="683338"/>
            <a:ext cx="1514024" cy="4406537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94DF10-9CA6-456A-99C3-92FEDA9C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3.10.2022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EF7D5C1-F457-48C9-ACD2-3B88A18E7A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CFBA434-C068-4A37-81BB-E4CB6DAC7D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4C2C6-9CD0-43A4-AEF8-0F30BF8483B1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120F35E2-E55B-43E7-B027-28BD27E3801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sz="2000" dirty="0"/>
              <a:t>2. Trainingsdaten erstellen</a:t>
            </a:r>
          </a:p>
          <a:p>
            <a:endParaRPr lang="de-DE" sz="2000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274318A-C5C8-4FCB-B72F-3B77B412E0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training einer KI</a:t>
            </a:r>
          </a:p>
        </p:txBody>
      </p:sp>
    </p:spTree>
    <p:extLst>
      <p:ext uri="{BB962C8B-B14F-4D97-AF65-F5344CB8AC3E}">
        <p14:creationId xmlns:p14="http://schemas.microsoft.com/office/powerpoint/2010/main" val="29254077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4A52844-CA87-48DB-8789-729BEB025D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3.10.2022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C622924-B6DF-41FA-8933-971DB97DFA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061A84C-4BD9-4B96-923C-DCAF0A075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4C2C6-9CD0-43A4-AEF8-0F30BF8483B1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9655431-0B5C-4F72-B09D-CF70B33F885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3. Anwendung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25D9988-D0AB-4511-B730-33C6017B5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training einer KI</a:t>
            </a:r>
          </a:p>
        </p:txBody>
      </p:sp>
    </p:spTree>
    <p:extLst>
      <p:ext uri="{BB962C8B-B14F-4D97-AF65-F5344CB8AC3E}">
        <p14:creationId xmlns:p14="http://schemas.microsoft.com/office/powerpoint/2010/main" val="41472938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3.10.2022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781E68D-3FF2-489D-B5A3-C03901A470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- IFS GmbH - BU PFV Daily - intern -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4765D11-BBC9-49E1-879A-FFD6E91F2A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4C2C6-9CD0-43A4-AEF8-0F30BF8483B1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29B4131C-AB3C-4DA3-B345-F696260F5CCE}"/>
              </a:ext>
            </a:extLst>
          </p:cNvPr>
          <p:cNvSpPr txBox="1"/>
          <p:nvPr/>
        </p:nvSpPr>
        <p:spPr>
          <a:xfrm>
            <a:off x="2934188" y="1289315"/>
            <a:ext cx="1248786" cy="6701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</a:pPr>
            <a:r>
              <a:rPr lang="de-DE" sz="4400" b="1" dirty="0">
                <a:solidFill>
                  <a:schemeClr val="bg1"/>
                </a:solidFill>
              </a:rPr>
              <a:t>Lob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17278A7-80A1-455B-89D0-EAB91BB3C171}"/>
              </a:ext>
            </a:extLst>
          </p:cNvPr>
          <p:cNvSpPr txBox="1"/>
          <p:nvPr/>
        </p:nvSpPr>
        <p:spPr>
          <a:xfrm>
            <a:off x="513604" y="2293670"/>
            <a:ext cx="3728960" cy="7702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</a:pPr>
            <a:r>
              <a:rPr lang="de-DE" sz="5400" b="1" dirty="0">
                <a:solidFill>
                  <a:schemeClr val="bg1"/>
                </a:solidFill>
              </a:rPr>
              <a:t>Anregung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2A74AA1-C2CA-48DC-AC42-E8BA90FAF853}"/>
              </a:ext>
            </a:extLst>
          </p:cNvPr>
          <p:cNvSpPr txBox="1"/>
          <p:nvPr/>
        </p:nvSpPr>
        <p:spPr>
          <a:xfrm>
            <a:off x="1570032" y="2020600"/>
            <a:ext cx="1901130" cy="3759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</a:pPr>
            <a:r>
              <a:rPr lang="de-DE" sz="2400" b="1" dirty="0">
                <a:solidFill>
                  <a:schemeClr val="bg1"/>
                </a:solidFill>
              </a:rPr>
              <a:t>Wertschätzung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4D8CFF7-74E0-4846-B1E6-7831EC33DE1F}"/>
              </a:ext>
            </a:extLst>
          </p:cNvPr>
          <p:cNvSpPr txBox="1"/>
          <p:nvPr/>
        </p:nvSpPr>
        <p:spPr>
          <a:xfrm>
            <a:off x="4280685" y="1824271"/>
            <a:ext cx="2793101" cy="7394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</a:pPr>
            <a:r>
              <a:rPr lang="de-DE" sz="4800" b="1" dirty="0">
                <a:solidFill>
                  <a:schemeClr val="bg1"/>
                </a:solidFill>
              </a:rPr>
              <a:t>Vorschläge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29577A1-1699-4691-8441-DAC0A5255F90}"/>
              </a:ext>
            </a:extLst>
          </p:cNvPr>
          <p:cNvSpPr txBox="1"/>
          <p:nvPr/>
        </p:nvSpPr>
        <p:spPr>
          <a:xfrm>
            <a:off x="4656036" y="1602365"/>
            <a:ext cx="946474" cy="3759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</a:pPr>
            <a:r>
              <a:rPr lang="de-DE" sz="2400" b="1" dirty="0">
                <a:solidFill>
                  <a:schemeClr val="bg1"/>
                </a:solidFill>
              </a:rPr>
              <a:t>Einfälle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D819C1FD-E75E-4D34-9BB2-256A109BF21C}"/>
              </a:ext>
            </a:extLst>
          </p:cNvPr>
          <p:cNvSpPr txBox="1"/>
          <p:nvPr/>
        </p:nvSpPr>
        <p:spPr>
          <a:xfrm>
            <a:off x="4282848" y="2652745"/>
            <a:ext cx="696455" cy="3325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</a:pPr>
            <a:r>
              <a:rPr lang="de-DE" sz="2400" b="1" dirty="0">
                <a:solidFill>
                  <a:schemeClr val="bg1"/>
                </a:solidFill>
              </a:rPr>
              <a:t>Tipp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C80FC91-5EFD-44BC-8DC9-43A86D6145D7}"/>
              </a:ext>
            </a:extLst>
          </p:cNvPr>
          <p:cNvSpPr txBox="1"/>
          <p:nvPr/>
        </p:nvSpPr>
        <p:spPr>
          <a:xfrm>
            <a:off x="5882633" y="2759513"/>
            <a:ext cx="1900954" cy="7223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</a:pPr>
            <a:r>
              <a:rPr lang="de-DE" sz="3600" b="1" dirty="0">
                <a:solidFill>
                  <a:schemeClr val="bg1"/>
                </a:solidFill>
              </a:rPr>
              <a:t>Impulse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0E9CFF87-A998-4A82-91B1-C4E62638D014}"/>
              </a:ext>
            </a:extLst>
          </p:cNvPr>
          <p:cNvSpPr txBox="1"/>
          <p:nvPr/>
        </p:nvSpPr>
        <p:spPr>
          <a:xfrm>
            <a:off x="4711741" y="3327990"/>
            <a:ext cx="2011801" cy="4383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</a:pPr>
            <a:r>
              <a:rPr lang="de-DE" sz="2400" b="1" dirty="0">
                <a:solidFill>
                  <a:schemeClr val="bg1"/>
                </a:solidFill>
              </a:rPr>
              <a:t>Rückmeldunge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170759DA-1EE6-47F1-BF34-6C9D80743F87}"/>
              </a:ext>
            </a:extLst>
          </p:cNvPr>
          <p:cNvSpPr txBox="1"/>
          <p:nvPr/>
        </p:nvSpPr>
        <p:spPr>
          <a:xfrm>
            <a:off x="1576198" y="3682037"/>
            <a:ext cx="1650261" cy="6701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</a:pPr>
            <a:r>
              <a:rPr lang="de-DE" sz="4400" b="1" dirty="0">
                <a:solidFill>
                  <a:schemeClr val="bg1"/>
                </a:solidFill>
              </a:rPr>
              <a:t>Ideen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18DF9AD6-8561-4C3D-B1B0-A06BC4042FCD}"/>
              </a:ext>
            </a:extLst>
          </p:cNvPr>
          <p:cNvSpPr txBox="1"/>
          <p:nvPr/>
        </p:nvSpPr>
        <p:spPr>
          <a:xfrm>
            <a:off x="2587123" y="3018815"/>
            <a:ext cx="2167279" cy="721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</a:pPr>
            <a:r>
              <a:rPr lang="de-DE" sz="4000" b="1" dirty="0">
                <a:solidFill>
                  <a:schemeClr val="bg1"/>
                </a:solidFill>
              </a:rPr>
              <a:t>Hinweise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64EE7395-56AF-4308-BA86-3660AED3A834}"/>
              </a:ext>
            </a:extLst>
          </p:cNvPr>
          <p:cNvSpPr txBox="1"/>
          <p:nvPr/>
        </p:nvSpPr>
        <p:spPr>
          <a:xfrm>
            <a:off x="3271213" y="3562167"/>
            <a:ext cx="2446429" cy="9431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</a:pPr>
            <a:r>
              <a:rPr lang="de-DE" sz="6000" b="1" dirty="0">
                <a:solidFill>
                  <a:schemeClr val="bg1"/>
                </a:solidFill>
              </a:rPr>
              <a:t>Fragen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6DC6F72F-4679-48D1-AE9C-44F08A52E917}"/>
              </a:ext>
            </a:extLst>
          </p:cNvPr>
          <p:cNvSpPr txBox="1"/>
          <p:nvPr/>
        </p:nvSpPr>
        <p:spPr>
          <a:xfrm>
            <a:off x="1441020" y="3108982"/>
            <a:ext cx="475691" cy="3759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</a:pPr>
            <a:r>
              <a:rPr lang="de-DE" sz="2400" b="1" dirty="0">
                <a:solidFill>
                  <a:schemeClr val="bg1"/>
                </a:solidFill>
              </a:rPr>
              <a:t>Rat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7D185F7D-D350-41BD-93B4-9E80C5FE512D}"/>
              </a:ext>
            </a:extLst>
          </p:cNvPr>
          <p:cNvSpPr txBox="1"/>
          <p:nvPr/>
        </p:nvSpPr>
        <p:spPr>
          <a:xfrm>
            <a:off x="5602510" y="4202795"/>
            <a:ext cx="1650261" cy="7223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</a:pPr>
            <a:r>
              <a:rPr lang="de-DE" sz="4400" b="1" dirty="0">
                <a:solidFill>
                  <a:schemeClr val="bg1"/>
                </a:solidFill>
              </a:rPr>
              <a:t>Hilfe</a:t>
            </a:r>
          </a:p>
        </p:txBody>
      </p:sp>
      <p:pic>
        <p:nvPicPr>
          <p:cNvPr id="30" name="Grafik 29" descr="Fragen">
            <a:extLst>
              <a:ext uri="{FF2B5EF4-FFF2-40B4-BE49-F238E27FC236}">
                <a16:creationId xmlns:a16="http://schemas.microsoft.com/office/drawing/2014/main" id="{04CF56E2-2DFF-4E4D-8B16-1BBC7A0DE3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32978" y="4959410"/>
            <a:ext cx="1468167" cy="1468167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78CABA07-6A65-43D3-B430-D49766237E75}"/>
              </a:ext>
            </a:extLst>
          </p:cNvPr>
          <p:cNvSpPr/>
          <p:nvPr/>
        </p:nvSpPr>
        <p:spPr>
          <a:xfrm>
            <a:off x="6875362" y="5501707"/>
            <a:ext cx="2971284" cy="66421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r"/>
            <a:r>
              <a:rPr lang="de-DE" sz="2000" dirty="0">
                <a:solidFill>
                  <a:schemeClr val="tx1"/>
                </a:solidFill>
              </a:rPr>
              <a:t>PFVDaily@mg.telekom.d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8FFC738-2C37-4C08-AE07-9C91AB0BA7A7}"/>
              </a:ext>
            </a:extLst>
          </p:cNvPr>
          <p:cNvGrpSpPr/>
          <p:nvPr/>
        </p:nvGrpSpPr>
        <p:grpSpPr>
          <a:xfrm>
            <a:off x="6363366" y="5451243"/>
            <a:ext cx="837661" cy="837661"/>
            <a:chOff x="6363366" y="5451243"/>
            <a:chExt cx="837661" cy="837661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B0662D6E-0A93-4FA5-96F4-0E27B399BACE}"/>
                </a:ext>
              </a:extLst>
            </p:cNvPr>
            <p:cNvSpPr/>
            <p:nvPr/>
          </p:nvSpPr>
          <p:spPr>
            <a:xfrm>
              <a:off x="6592389" y="5582194"/>
              <a:ext cx="481397" cy="65918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sz="1800" dirty="0" err="1"/>
            </a:p>
          </p:txBody>
        </p:sp>
        <p:pic>
          <p:nvPicPr>
            <p:cNvPr id="27" name="Grafik 28" descr="E-Mail">
              <a:extLst>
                <a:ext uri="{FF2B5EF4-FFF2-40B4-BE49-F238E27FC236}">
                  <a16:creationId xmlns:a16="http://schemas.microsoft.com/office/drawing/2014/main" id="{7C82B3B1-B320-47B7-8804-3EE0E7EE34B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363366" y="5451243"/>
              <a:ext cx="837661" cy="8376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694126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Morgen?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3.10.2022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- IFS GmbH - BU PFV Daily - intern -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4C2C6-9CD0-43A4-AEF8-0F30BF8483B1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oderation: Claudia Kaa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Wochenrückblick / Produktmanagement </a:t>
            </a:r>
            <a:r>
              <a:rPr lang="de-DE"/>
              <a:t>stellt sich vor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09839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2C4647E-162F-4924-9793-CA60C9291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3.10.2022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244F919-EF14-41C3-AA8A-A9F4C806C9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- IFS GmbH - BU PFV Daily - intern -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331C41-4979-4FFE-89C6-E0BA5A0D44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4C2C6-9CD0-43A4-AEF8-0F30BF8483B1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C40BE96-6A34-42A9-87AF-C1FB4FEF1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inweis auf Lesestunde morgen, 14.10.2022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C0044B6-420C-4430-B4A4-84693993E8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1037" y="1836456"/>
            <a:ext cx="5346671" cy="3564447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5AB77B57-CADE-435E-9A1E-A8B77A2B50E6}"/>
              </a:ext>
            </a:extLst>
          </p:cNvPr>
          <p:cNvSpPr/>
          <p:nvPr/>
        </p:nvSpPr>
        <p:spPr>
          <a:xfrm>
            <a:off x="10480736" y="5293181"/>
            <a:ext cx="75052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800" dirty="0"/>
              <a:t>kt-thomas.de 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7107BB10-6885-408B-9DE4-5396219D1C4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88924" y="1476375"/>
            <a:ext cx="6249899" cy="4032250"/>
          </a:xfrm>
        </p:spPr>
        <p:txBody>
          <a:bodyPr/>
          <a:lstStyle/>
          <a:p>
            <a:r>
              <a:rPr lang="de-DE" sz="2400" dirty="0"/>
              <a:t>Belehrungen und Unterweisungen zum Arbeitsschutz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dirty="0"/>
              <a:t>Gemeinsamer 2-Stunden-Termin 14.10.2022, 13:30-15:30 Uhr, um die Belehrungen zusammen durchzugehe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dirty="0"/>
              <a:t>Euer </a:t>
            </a:r>
            <a:r>
              <a:rPr lang="de-DE" dirty="0" err="1"/>
              <a:t>ToDo</a:t>
            </a:r>
            <a:r>
              <a:rPr lang="de-DE" dirty="0"/>
              <a:t> in Vorbereitung: Belehrungen lesen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92850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-Systems 16zu9 DE">
  <a:themeElements>
    <a:clrScheme name="T-System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4B4B4B"/>
      </a:folHlink>
    </a:clrScheme>
    <a:fontScheme name="T-Systems">
      <a:majorFont>
        <a:latin typeface="TeleGrotesk Next Ultra"/>
        <a:ea typeface=""/>
        <a:cs typeface=""/>
      </a:majorFont>
      <a:minorFont>
        <a:latin typeface="TeleGrotesk N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108000" tIns="72000" rIns="108000" bIns="72000" rtlCol="0" anchor="ctr"/>
      <a:lstStyle>
        <a:defPPr algn="ctr">
          <a:defRPr sz="18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defRPr sz="18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SYS_PowerPoint-Template_2019-05-03_MS.potx" id="{CB180039-168C-4E62-B813-601C98B009D2}" vid="{D1C2E88F-09E9-46E7-8B77-A86C039DD243}"/>
    </a:ext>
  </a:extLst>
</a:theme>
</file>

<file path=ppt/theme/theme2.xml><?xml version="1.0" encoding="utf-8"?>
<a:theme xmlns:a="http://schemas.openxmlformats.org/drawingml/2006/main" name="Office">
  <a:themeElements>
    <a:clrScheme name="T-Systems">
      <a:dk1>
        <a:srgbClr val="4B4B4B"/>
      </a:dk1>
      <a:lt1>
        <a:srgbClr val="FFFFFF"/>
      </a:lt1>
      <a:dk2>
        <a:srgbClr val="A4A4A4"/>
      </a:dk2>
      <a:lt2>
        <a:srgbClr val="E2007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4B4B4B"/>
      </a:folHlink>
    </a:clrScheme>
    <a:fontScheme name="T-Systems">
      <a:majorFont>
        <a:latin typeface="TeleGrotesk Next Ultra"/>
        <a:ea typeface=""/>
        <a:cs typeface=""/>
      </a:majorFont>
      <a:minorFont>
        <a:latin typeface="TeleGrotesk N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T-Systems">
      <a:dk1>
        <a:srgbClr val="4B4B4B"/>
      </a:dk1>
      <a:lt1>
        <a:srgbClr val="FFFFFF"/>
      </a:lt1>
      <a:dk2>
        <a:srgbClr val="A4A4A4"/>
      </a:dk2>
      <a:lt2>
        <a:srgbClr val="E2007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4B4B4B"/>
      </a:folHlink>
    </a:clrScheme>
    <a:fontScheme name="T-Systems">
      <a:majorFont>
        <a:latin typeface="TeleGrotesk Next Ultra"/>
        <a:ea typeface=""/>
        <a:cs typeface=""/>
      </a:majorFont>
      <a:minorFont>
        <a:latin typeface="TeleGrotesk N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2D71C7968ACFE4E985B447986B4D379" ma:contentTypeVersion="16" ma:contentTypeDescription="Ein neues Dokument erstellen." ma:contentTypeScope="" ma:versionID="c482045385fa785fbe5ecbbc4ff85cca">
  <xsd:schema xmlns:xsd="http://www.w3.org/2001/XMLSchema" xmlns:xs="http://www.w3.org/2001/XMLSchema" xmlns:p="http://schemas.microsoft.com/office/2006/metadata/properties" xmlns:ns2="ac5ec70d-47fa-45a1-9e55-3af600a1c5d1" xmlns:ns3="052e15f8-92ab-4b99-9927-d6b133658ce8" targetNamespace="http://schemas.microsoft.com/office/2006/metadata/properties" ma:root="true" ma:fieldsID="7ab562a3b655c8e0066277c70f6d3887" ns2:_="" ns3:_="">
    <xsd:import namespace="ac5ec70d-47fa-45a1-9e55-3af600a1c5d1"/>
    <xsd:import namespace="052e15f8-92ab-4b99-9927-d6b133658ce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5ec70d-47fa-45a1-9e55-3af600a1c5d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55a6c181-b3a6-4e6d-958a-84db063416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2e15f8-92ab-4b99-9927-d6b133658ce8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e9322ca-2444-4138-bb72-a7f626e5ac6b}" ma:internalName="TaxCatchAll" ma:showField="CatchAllData" ma:web="052e15f8-92ab-4b99-9927-d6b133658ce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52e15f8-92ab-4b99-9927-d6b133658ce8" xsi:nil="true"/>
    <lcf76f155ced4ddcb4097134ff3c332f xmlns="ac5ec70d-47fa-45a1-9e55-3af600a1c5d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FEFCC725-09CE-495F-8385-77D7AFAA20D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2BCEEAC-F851-4677-A50D-CC3F866078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c5ec70d-47fa-45a1-9e55-3af600a1c5d1"/>
    <ds:schemaRef ds:uri="052e15f8-92ab-4b99-9927-d6b133658ce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C67B248-FF4B-4D0D-AF55-AC07DBC25323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purl.org/dc/terms/"/>
    <ds:schemaRef ds:uri="052e15f8-92ab-4b99-9927-d6b133658ce8"/>
    <ds:schemaRef ds:uri="ac5ec70d-47fa-45a1-9e55-3af600a1c5d1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SYS_PowerPoint-Template_de_03-19</Template>
  <TotalTime>0</TotalTime>
  <Words>578</Words>
  <Application>Microsoft Office PowerPoint</Application>
  <PresentationFormat>Benutzerdefiniert</PresentationFormat>
  <Paragraphs>142</Paragraphs>
  <Slides>11</Slides>
  <Notes>1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9" baseType="lpstr">
      <vt:lpstr>Arial</vt:lpstr>
      <vt:lpstr>TeleGrotesk Next</vt:lpstr>
      <vt:lpstr>TeleGrotesk Next Thin</vt:lpstr>
      <vt:lpstr>TeleGrotesk Next Ultra</vt:lpstr>
      <vt:lpstr>Wingdings</vt:lpstr>
      <vt:lpstr>Wingdings 2</vt:lpstr>
      <vt:lpstr>T-Systems 16zu9 DE</vt:lpstr>
      <vt:lpstr>think-cell Folie</vt:lpstr>
      <vt:lpstr>PowerPoint-Präsentation</vt:lpstr>
      <vt:lpstr>PowerPoint-Präsentation</vt:lpstr>
      <vt:lpstr>Thema künstliche Intelligenz</vt:lpstr>
      <vt:lpstr>Modelltraining einer KI</vt:lpstr>
      <vt:lpstr>Modelltraining einer KI</vt:lpstr>
      <vt:lpstr>Modelltraining einer KI</vt:lpstr>
      <vt:lpstr>PowerPoint-Präsentation</vt:lpstr>
      <vt:lpstr>PowerPoint-Präsentation</vt:lpstr>
      <vt:lpstr>Hinweis auf Lesestunde morgen, 14.10.2022</vt:lpstr>
      <vt:lpstr>PowerPoint-Präsentation</vt:lpstr>
      <vt:lpstr>Copy &amp; Paste Elemente und Raster</vt:lpstr>
    </vt:vector>
  </TitlesOfParts>
  <Company>DTHS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laudia Kaak</dc:creator>
  <cp:lastModifiedBy>Dirla, Eric</cp:lastModifiedBy>
  <cp:revision>13</cp:revision>
  <dcterms:created xsi:type="dcterms:W3CDTF">2020-03-04T11:45:45Z</dcterms:created>
  <dcterms:modified xsi:type="dcterms:W3CDTF">2022-10-12T14:10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D71C7968ACFE4E985B447986B4D379</vt:lpwstr>
  </property>
  <property fmtid="{D5CDD505-2E9C-101B-9397-08002B2CF9AE}" pid="3" name="MediaServiceImageTags">
    <vt:lpwstr/>
  </property>
</Properties>
</file>